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media/image1.svg" ContentType="image/svg+xml"/>
  <Override PartName="/ppt/media/image2.svg" ContentType="image/svg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5" r:id="rId3"/>
    <p:sldMasterId id="2147483680" r:id="rId4"/>
    <p:sldMasterId id="2147483695" r:id="rId5"/>
  </p:sldMasterIdLst>
  <p:notesMasterIdLst>
    <p:notesMasterId r:id="rId7"/>
  </p:notesMasterIdLst>
  <p:handoutMasterIdLst>
    <p:handoutMasterId r:id="rId17"/>
  </p:handoutMasterIdLst>
  <p:sldIdLst>
    <p:sldId id="445" r:id="rId6"/>
    <p:sldId id="4252709" r:id="rId8"/>
    <p:sldId id="4252721" r:id="rId9"/>
    <p:sldId id="4252723" r:id="rId10"/>
    <p:sldId id="4252729" r:id="rId11"/>
    <p:sldId id="4252716" r:id="rId12"/>
    <p:sldId id="4252759" r:id="rId13"/>
    <p:sldId id="4252749" r:id="rId14"/>
    <p:sldId id="4252743" r:id="rId15"/>
    <p:sldId id="453" r:id="rId16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王进平" initials="" lastIdx="1" clrIdx="0"/>
  <p:cmAuthor id="43" name="欧 文韬" initials="欧" lastIdx="1" clrIdx="15"/>
  <p:cmAuthor id="1" name="卢 庆奎" initials="卢" lastIdx="1" clrIdx="0"/>
  <p:cmAuthor id="44" name="microsoft" initials="m" lastIdx="8" clrIdx="0"/>
  <p:cmAuthor id="2" name="Administrator" initials="A" lastIdx="1" clrIdx="1"/>
  <p:cmAuthor id="45" name="Bai, Rainbow" initials="B" lastIdx="1" clrIdx="0"/>
  <p:cmAuthor id="3" name="Author" initials="A" lastIdx="0" clrIdx="2"/>
  <p:cmAuthor id="46" name="未知用户29" initials="未" lastIdx="9" clrIdx="0"/>
  <p:cmAuthor id="4" name="张婧（欧意）" initials="A" lastIdx="1" clrIdx="3"/>
  <p:cmAuthor id="47" name="未知用户26" initials="未" lastIdx="11" clrIdx="0"/>
  <p:cmAuthor id="5" name="晶" initials="晶" lastIdx="1" clrIdx="4"/>
  <p:cmAuthor id="48" name="未知用户27" initials="未" lastIdx="1" clrIdx="1"/>
  <p:cmAuthor id="6" name="ming qiu" initials="m" lastIdx="17" clrIdx="1"/>
  <p:cmAuthor id="7" name="1206988966@qq.com" initials="1" lastIdx="1" clrIdx="2"/>
  <p:cmAuthor id="50" name="James" initials="J" lastIdx="17" clrIdx="0"/>
  <p:cmAuthor id="8" name="姜伟光" initials="姜" lastIdx="1" clrIdx="0"/>
  <p:cmAuthor id="51" name="未知用户2" initials="未" lastIdx="2" clrIdx="0"/>
  <p:cmAuthor id="9" name="HUAWEI" initials="H" lastIdx="1" clrIdx="4"/>
  <p:cmAuthor id="52" name="zhang lu" initials="zl" lastIdx="1" clrIdx="16"/>
  <p:cmAuthor id="10" name="LENOVO" initials="L" lastIdx="1" clrIdx="9"/>
  <p:cmAuthor id="11" name="Song, Joy {MACA~Shanghai}" initials="S" lastIdx="3" clrIdx="8"/>
  <p:cmAuthor id="54" name="af afd" initials="aa" lastIdx="1" clrIdx="53"/>
  <p:cmAuthor id="12" name="liuxiaoxin999" initials="l" lastIdx="1" clrIdx="11"/>
  <p:cmAuthor id="55" name="admin" initials="a" lastIdx="1" clrIdx="54"/>
  <p:cmAuthor id="13" name="微软用户" initials="微" lastIdx="2" clrIdx="0"/>
  <p:cmAuthor id="14" name="Yao, Xin {MACE~Shanghai}" initials="Y" lastIdx="0" clrIdx="6"/>
  <p:cmAuthor id="15" name="Momo" initials="M" lastIdx="1" clrIdx="14"/>
  <p:cmAuthor id="16" name="vroberts" initials="v" lastIdx="13" clrIdx="5"/>
  <p:cmAuthor id="17" name="kwilner" initials="k" lastIdx="8" clrIdx="6"/>
  <p:cmAuthor id="18" name="ktzn051" initials="k" lastIdx="5" clrIdx="0"/>
  <p:cmAuthor id="19" name="kthq106" initials="k" lastIdx="2" clrIdx="1"/>
  <p:cmAuthor id="20" name="GDicks" initials="G" lastIdx="4" clrIdx="0"/>
  <p:cmAuthor id="21" name="Wu, Stella {MACN~Shanghai}" initials="W" lastIdx="1" clrIdx="0"/>
  <p:cmAuthor id="22" name="ThinkPad" initials="T" lastIdx="1" clrIdx="1"/>
  <p:cmAuthor id="23" name="shen" initials="s" lastIdx="3" clrIdx="22"/>
  <p:cmAuthor id="24" name="未知用户23" initials="未" lastIdx="3" clrIdx="0"/>
  <p:cmAuthor id="25" name="Willing.Shen" initials="W" lastIdx="0" clrIdx="1"/>
  <p:cmAuthor id="26" name="未知用户28" initials="未" lastIdx="1" clrIdx="0"/>
  <p:cmAuthor id="27" name="thinkpad" initials="t" lastIdx="3" clrIdx="1"/>
  <p:cmAuthor id="28" name="toshiba" initials="t" lastIdx="1" clrIdx="2"/>
  <p:cmAuthor id="29" name="未知用户30" initials="未" lastIdx="0" clrIdx="1"/>
  <p:cmAuthor id="30" name="未知用户20" initials="未" lastIdx="3" clrIdx="0"/>
  <p:cmAuthor id="31" name="未知用户21" initials="未" lastIdx="11" clrIdx="0"/>
  <p:cmAuthor id="32" name="未知用户10" initials="未" lastIdx="1" clrIdx="0"/>
  <p:cmAuthor id="33" name="未知用户15" initials="未" lastIdx="2" clrIdx="0"/>
  <p:cmAuthor id="34" name="未知用户12" initials="未" lastIdx="0" clrIdx="1"/>
  <p:cmAuthor id="35" name="未知用户3" initials="未" lastIdx="3" clrIdx="0"/>
  <p:cmAuthor id="36" name="未知用户4" initials="未" lastIdx="11" clrIdx="0"/>
  <p:cmAuthor id="37" name="未知用户5" initials="未" lastIdx="1" clrIdx="1"/>
  <p:cmAuthor id="38" name="未知用户6" initials="未" lastIdx="1" clrIdx="0"/>
  <p:cmAuthor id="39" name="未知用户7" initials="未" lastIdx="9" clrIdx="0"/>
  <p:cmAuthor id="40" name="未知用户8" initials="未" lastIdx="1" clrIdx="3"/>
  <p:cmAuthor id="41" name="Tclsevers" initials="T" lastIdx="1" clrIdx="0"/>
  <p:cmAuthor id="42" name="13373909772@163.com" initials="1" lastIdx="1" clrIdx="8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AA6D3"/>
    <a:srgbClr val="B62726"/>
    <a:srgbClr val="184E78"/>
    <a:srgbClr val="FFFFFF"/>
    <a:srgbClr val="1888A0"/>
    <a:srgbClr val="202A57"/>
    <a:srgbClr val="548235"/>
    <a:srgbClr val="E92100"/>
    <a:srgbClr val="DEEBF7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3" autoAdjust="0"/>
    <p:restoredTop sz="94660"/>
  </p:normalViewPr>
  <p:slideViewPr>
    <p:cSldViewPr snapToGrid="0">
      <p:cViewPr varScale="1">
        <p:scale>
          <a:sx n="103" d="100"/>
          <a:sy n="103" d="100"/>
        </p:scale>
        <p:origin x="31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2" Type="http://schemas.openxmlformats.org/officeDocument/2006/relationships/tags" Target="tags/tag20.xml"/><Relationship Id="rId21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2" Type="http://schemas.openxmlformats.org/officeDocument/2006/relationships/theme" Target="theme/theme1.xml"/><Relationship Id="rId19" Type="http://schemas.openxmlformats.org/officeDocument/2006/relationships/viewProps" Target="viewProps.xml"/><Relationship Id="rId18" Type="http://schemas.openxmlformats.org/officeDocument/2006/relationships/presProps" Target="presProps.xml"/><Relationship Id="rId17" Type="http://schemas.openxmlformats.org/officeDocument/2006/relationships/handoutMaster" Target="handoutMasters/handoutMaster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&#24037;&#20316;&#31807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0" vertOverflow="ellipsis" vert="horz" wrap="square" anchor="ctr" anchorCtr="1"/>
          <a:lstStyle/>
          <a:p>
            <a:pPr defTabSz="914400">
              <a:defRPr lang="zh-CN" sz="1440" b="1" i="0" u="none" strike="noStrike" kern="1200" spc="0" baseline="0">
                <a:solidFill>
                  <a:srgbClr val="202A57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pPr>
            <a:r>
              <a:rPr sz="1440" b="1">
                <a:solidFill>
                  <a:srgbClr val="202A57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rPr>
              <a:t>整体人群矫正后FVC年下降情况</a:t>
            </a:r>
            <a:r>
              <a:rPr lang="en-US" altLang="zh-CN" sz="1440" b="1" baseline="30000">
                <a:solidFill>
                  <a:srgbClr val="202A57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rPr>
              <a:t>1</a:t>
            </a:r>
            <a:endParaRPr lang="en-US" altLang="zh-CN" sz="1440" b="1" baseline="30000">
              <a:solidFill>
                <a:srgbClr val="202A57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微软雅黑" panose="020B0503020204020204" charset="-122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19624025676295"/>
          <c:y val="0.189633767846058"/>
          <c:w val="0.802659330582302"/>
          <c:h val="0.6732671218704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[工作簿1]Sheet1!$D$10</c:f>
              <c:strCache>
                <c:ptCount val="1"/>
                <c:pt idx="0">
                  <c:v>矫正后FVC年下降体积mL /年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02A57"/>
              </a:solidFill>
              <a:ln>
                <a:noFill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548235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1200" b="0" i="0" u="none" strike="noStrike" kern="1200" baseline="0">
                    <a:solidFill>
                      <a:srgbClr val="202A57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defRPr>
                </a:pPr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[工作簿1]Sheet1!$E$9:$F$9</c:f>
              <c:strCache>
                <c:ptCount val="2"/>
                <c:pt idx="0">
                  <c:v>尼达尼布
n=332</c:v>
                </c:pt>
                <c:pt idx="1">
                  <c:v>安慰剂
n=331</c:v>
                </c:pt>
              </c:strCache>
            </c:strRef>
          </c:cat>
          <c:val>
            <c:numRef>
              <c:f>[工作簿1]Sheet1!$E$10:$F$10</c:f>
              <c:numCache>
                <c:formatCode>General</c:formatCode>
                <c:ptCount val="2"/>
                <c:pt idx="0">
                  <c:v>80.8</c:v>
                </c:pt>
                <c:pt idx="1">
                  <c:v>187.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23094752"/>
        <c:axId val="968734214"/>
      </c:barChart>
      <c:catAx>
        <c:axId val="42309475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rgbClr val="202A57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pPr>
          </a:p>
        </c:txPr>
        <c:crossAx val="968734214"/>
        <c:crosses val="autoZero"/>
        <c:auto val="1"/>
        <c:lblAlgn val="ctr"/>
        <c:lblOffset val="100"/>
        <c:noMultiLvlLbl val="0"/>
      </c:catAx>
      <c:valAx>
        <c:axId val="968734214"/>
        <c:scaling>
          <c:orientation val="minMax"/>
        </c:scaling>
        <c:delete val="0"/>
        <c:axPos val="l"/>
        <c:title>
          <c:tx>
            <c:rich>
              <a:bodyPr rot="-5400000" spcFirstLastPara="0" vertOverflow="ellipsis" vert="horz" wrap="square" anchor="ctr" anchorCtr="1"/>
              <a:lstStyle/>
              <a:p>
                <a:pPr defTabSz="914400">
                  <a:defRPr lang="zh-CN" sz="1200" b="0" i="0" u="none" strike="noStrike" kern="1200" baseline="0">
                    <a:solidFill>
                      <a:srgbClr val="202A57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defRPr>
                </a:pPr>
                <a:r>
                  <a:rPr sz="1200">
                    <a:solidFill>
                      <a:srgbClr val="202A57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rPr>
                  <a:t>矫正后FVC年下降体积mL /年</a:t>
                </a:r>
                <a:endParaRPr sz="1200">
                  <a:solidFill>
                    <a:srgbClr val="202A57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微软雅黑" panose="020B0503020204020204" charset="-122"/>
                </a:endParaRPr>
              </a:p>
              <a:p>
                <a:pPr defTabSz="914400">
                  <a:defRPr lang="zh-CN" sz="1200" b="0" i="0" u="none" strike="noStrike" kern="1200" baseline="0">
                    <a:solidFill>
                      <a:srgbClr val="202A57"/>
                    </a:solidFill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微软雅黑" panose="020B0503020204020204" charset="-122"/>
                  </a:defRPr>
                </a:pPr>
                <a:endParaRPr sz="1200">
                  <a:solidFill>
                    <a:srgbClr val="202A57"/>
                  </a:solidFill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微软雅黑" panose="020B0503020204020204" charset="-122"/>
                </a:endParaRP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0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rgbClr val="202A57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微软雅黑" panose="020B0503020204020204" charset="-122"/>
              </a:defRPr>
            </a:pPr>
          </a:p>
        </c:txPr>
        <c:crossAx val="42309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lang="zh-CN" sz="1200">
          <a:solidFill>
            <a:srgbClr val="202A57"/>
          </a:solidFill>
          <a:latin typeface="微软雅黑" panose="020B0503020204020204" charset="-122"/>
          <a:ea typeface="微软雅黑" panose="020B0503020204020204" charset="-122"/>
          <a:cs typeface="微软雅黑" panose="020B0503020204020204" charset="-122"/>
          <a:sym typeface="微软雅黑" panose="020B0503020204020204" charset="-122"/>
        </a:defRPr>
      </a:pPr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A48B96-639E-45A3-A0BA-2464DFDB1FAA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37353-30EB-4A48-80EB-173D804AEFBD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在疾病缩写层面写</a:t>
            </a:r>
            <a:r>
              <a:rPr lang="en-US" altLang="zh-CN" dirty="0"/>
              <a:t>PF-ILD</a:t>
            </a:r>
            <a:r>
              <a:rPr lang="zh-CN" altLang="en-US" dirty="0"/>
              <a:t>海水</a:t>
            </a:r>
            <a:r>
              <a:rPr lang="en-US" altLang="zh-CN" dirty="0"/>
              <a:t>PPF</a:t>
            </a:r>
            <a:r>
              <a:rPr lang="zh-CN" altLang="en-US" dirty="0"/>
              <a:t>更为</a:t>
            </a:r>
            <a:r>
              <a:rPr lang="zh-CN" altLang="en-US" dirty="0"/>
              <a:t>合适？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charset="-122"/>
                <a:ea typeface="等线" panose="02010600030101010101" charset="-122"/>
                <a:cs typeface="+mn-cs"/>
              </a:rPr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10600030101010101" charset="-122"/>
              <a:ea typeface="等线" panose="02010600030101010101" charset="-122"/>
              <a:cs typeface="+mn-cs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3BE65E-D6A0-433A-9769-180C0D5DD83D}" type="slidenum">
              <a:rPr lang="zh-CN" altLang="en-US" smtClean="0">
                <a:solidFill>
                  <a:prstClr val="black"/>
                </a:solidFill>
              </a:rPr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4" Type="http://schemas.openxmlformats.org/officeDocument/2006/relationships/image" Target="../media/image9.png"/><Relationship Id="rId3" Type="http://schemas.openxmlformats.org/officeDocument/2006/relationships/image" Target="../media/image5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8" name="图片 7" descr="形状&#10;&#10;低可信度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3"/>
            <a:ext cx="12192000" cy="6857194"/>
          </a:xfrm>
          <a:prstGeom prst="rect">
            <a:avLst/>
          </a:prstGeom>
        </p:spPr>
      </p:pic>
      <p:sp>
        <p:nvSpPr>
          <p:cNvPr id="6" name="文本框 5"/>
          <p:cNvSpPr txBox="1"/>
          <p:nvPr userDrawn="1"/>
        </p:nvSpPr>
        <p:spPr>
          <a:xfrm>
            <a:off x="8313420" y="6665595"/>
            <a:ext cx="3878580" cy="2298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900">
                <a:solidFill>
                  <a:srgbClr val="00206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特别提示：因IPF适应症处于专利保护期内，因此本产品未获批该适应症。</a:t>
            </a:r>
            <a:endParaRPr lang="zh-CN" altLang="en-US" sz="900">
              <a:solidFill>
                <a:srgbClr val="00206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页——A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0399" y="365125"/>
            <a:ext cx="9176769" cy="663575"/>
          </a:xfrm>
        </p:spPr>
        <p:txBody>
          <a:bodyPr/>
          <a:lstStyle>
            <a:lvl1pPr>
              <a:defRPr>
                <a:latin typeface="思源黑体 CN Bold" panose="020B0800000000000000" pitchFamily="34" charset="-122"/>
                <a:ea typeface="思源黑体 CN Bold" panose="020B0800000000000000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60400" y="6334888"/>
            <a:ext cx="2921000" cy="365125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CB780874-66C6-4A3C-A840-65A33701802D}" type="datetime1">
              <a:rPr lang="zh-CN" altLang="en-US" smtClean="0"/>
            </a:fld>
            <a:endParaRPr lang="zh-CN" altLang="en-US"/>
          </a:p>
        </p:txBody>
      </p:sp>
      <p:sp>
        <p:nvSpPr>
          <p:cNvPr id="8" name="任意多边形: 形状 7"/>
          <p:cNvSpPr/>
          <p:nvPr/>
        </p:nvSpPr>
        <p:spPr>
          <a:xfrm>
            <a:off x="9539995" y="-820045"/>
            <a:ext cx="155820" cy="14309"/>
          </a:xfrm>
          <a:custGeom>
            <a:avLst/>
            <a:gdLst>
              <a:gd name="connsiteX0" fmla="*/ 95250 w 95250"/>
              <a:gd name="connsiteY0" fmla="*/ 6668 h 8747"/>
              <a:gd name="connsiteX1" fmla="*/ 0 w 95250"/>
              <a:gd name="connsiteY1" fmla="*/ 0 h 8747"/>
              <a:gd name="connsiteX2" fmla="*/ 94297 w 95250"/>
              <a:gd name="connsiteY2" fmla="*/ 0 h 8747"/>
              <a:gd name="connsiteX3" fmla="*/ 95250 w 95250"/>
              <a:gd name="connsiteY3" fmla="*/ 6668 h 8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250" h="8747">
                <a:moveTo>
                  <a:pt x="95250" y="6668"/>
                </a:moveTo>
                <a:cubicBezTo>
                  <a:pt x="62865" y="8573"/>
                  <a:pt x="31432" y="12383"/>
                  <a:pt x="0" y="0"/>
                </a:cubicBezTo>
                <a:cubicBezTo>
                  <a:pt x="31432" y="0"/>
                  <a:pt x="62865" y="0"/>
                  <a:pt x="94297" y="0"/>
                </a:cubicBezTo>
                <a:cubicBezTo>
                  <a:pt x="94297" y="1905"/>
                  <a:pt x="94297" y="4763"/>
                  <a:pt x="95250" y="6668"/>
                </a:cubicBezTo>
                <a:close/>
              </a:path>
            </a:pathLst>
          </a:custGeom>
          <a:solidFill>
            <a:srgbClr val="7BBA95">
              <a:alpha val="4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1" name="任意多边形: 形状 30"/>
          <p:cNvSpPr/>
          <p:nvPr/>
        </p:nvSpPr>
        <p:spPr>
          <a:xfrm>
            <a:off x="11498652" y="1043466"/>
            <a:ext cx="108601" cy="99821"/>
          </a:xfrm>
          <a:custGeom>
            <a:avLst/>
            <a:gdLst>
              <a:gd name="connsiteX0" fmla="*/ 16193 w 66386"/>
              <a:gd name="connsiteY0" fmla="*/ 61019 h 61019"/>
              <a:gd name="connsiteX1" fmla="*/ 0 w 66386"/>
              <a:gd name="connsiteY1" fmla="*/ 50542 h 61019"/>
              <a:gd name="connsiteX2" fmla="*/ 51435 w 66386"/>
              <a:gd name="connsiteY2" fmla="*/ 59 h 61019"/>
              <a:gd name="connsiteX3" fmla="*/ 65723 w 66386"/>
              <a:gd name="connsiteY3" fmla="*/ 20062 h 61019"/>
              <a:gd name="connsiteX4" fmla="*/ 16193 w 66386"/>
              <a:gd name="connsiteY4" fmla="*/ 61019 h 61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386" h="61019">
                <a:moveTo>
                  <a:pt x="16193" y="61019"/>
                </a:moveTo>
                <a:cubicBezTo>
                  <a:pt x="10478" y="60067"/>
                  <a:pt x="953" y="61972"/>
                  <a:pt x="0" y="50542"/>
                </a:cubicBezTo>
                <a:cubicBezTo>
                  <a:pt x="0" y="42922"/>
                  <a:pt x="44768" y="-1846"/>
                  <a:pt x="51435" y="59"/>
                </a:cubicBezTo>
                <a:cubicBezTo>
                  <a:pt x="61913" y="1964"/>
                  <a:pt x="68580" y="9584"/>
                  <a:pt x="65723" y="20062"/>
                </a:cubicBezTo>
                <a:cubicBezTo>
                  <a:pt x="61913" y="45779"/>
                  <a:pt x="44768" y="59114"/>
                  <a:pt x="16193" y="61019"/>
                </a:cubicBezTo>
                <a:close/>
              </a:path>
            </a:pathLst>
          </a:custGeom>
          <a:solidFill>
            <a:srgbClr val="E4F3E9">
              <a:alpha val="4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2" name="任意多边形: 形状 31"/>
          <p:cNvSpPr/>
          <p:nvPr/>
        </p:nvSpPr>
        <p:spPr>
          <a:xfrm>
            <a:off x="11361956" y="1214818"/>
            <a:ext cx="119087" cy="77876"/>
          </a:xfrm>
          <a:custGeom>
            <a:avLst/>
            <a:gdLst>
              <a:gd name="connsiteX0" fmla="*/ 27363 w 72796"/>
              <a:gd name="connsiteY0" fmla="*/ 46763 h 47604"/>
              <a:gd name="connsiteX1" fmla="*/ 693 w 72796"/>
              <a:gd name="connsiteY1" fmla="*/ 34380 h 47604"/>
              <a:gd name="connsiteX2" fmla="*/ 52128 w 72796"/>
              <a:gd name="connsiteY2" fmla="*/ 90 h 47604"/>
              <a:gd name="connsiteX3" fmla="*/ 72131 w 72796"/>
              <a:gd name="connsiteY3" fmla="*/ 17235 h 47604"/>
              <a:gd name="connsiteX4" fmla="*/ 27363 w 72796"/>
              <a:gd name="connsiteY4" fmla="*/ 46763 h 47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796" h="47604">
                <a:moveTo>
                  <a:pt x="27363" y="46763"/>
                </a:moveTo>
                <a:cubicBezTo>
                  <a:pt x="16886" y="44857"/>
                  <a:pt x="-4069" y="46763"/>
                  <a:pt x="693" y="34380"/>
                </a:cubicBezTo>
                <a:cubicBezTo>
                  <a:pt x="8313" y="14377"/>
                  <a:pt x="29268" y="1995"/>
                  <a:pt x="52128" y="90"/>
                </a:cubicBezTo>
                <a:cubicBezTo>
                  <a:pt x="62606" y="-862"/>
                  <a:pt x="75941" y="5805"/>
                  <a:pt x="72131" y="17235"/>
                </a:cubicBezTo>
                <a:cubicBezTo>
                  <a:pt x="65463" y="35332"/>
                  <a:pt x="52128" y="51525"/>
                  <a:pt x="27363" y="46763"/>
                </a:cubicBezTo>
                <a:close/>
              </a:path>
            </a:pathLst>
          </a:custGeom>
          <a:solidFill>
            <a:srgbClr val="EEFAF3">
              <a:alpha val="4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3" name="任意多边形: 形状 32"/>
          <p:cNvSpPr/>
          <p:nvPr/>
        </p:nvSpPr>
        <p:spPr>
          <a:xfrm>
            <a:off x="11677846" y="1294324"/>
            <a:ext cx="63885" cy="66770"/>
          </a:xfrm>
          <a:custGeom>
            <a:avLst/>
            <a:gdLst>
              <a:gd name="connsiteX0" fmla="*/ 39053 w 39052"/>
              <a:gd name="connsiteY0" fmla="*/ 28642 h 40815"/>
              <a:gd name="connsiteX1" fmla="*/ 26670 w 39052"/>
              <a:gd name="connsiteY1" fmla="*/ 40072 h 40815"/>
              <a:gd name="connsiteX2" fmla="*/ 0 w 39052"/>
              <a:gd name="connsiteY2" fmla="*/ 11497 h 40815"/>
              <a:gd name="connsiteX3" fmla="*/ 11430 w 39052"/>
              <a:gd name="connsiteY3" fmla="*/ 1019 h 40815"/>
              <a:gd name="connsiteX4" fmla="*/ 39053 w 39052"/>
              <a:gd name="connsiteY4" fmla="*/ 28642 h 40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052" h="40815">
                <a:moveTo>
                  <a:pt x="39053" y="28642"/>
                </a:moveTo>
                <a:cubicBezTo>
                  <a:pt x="38100" y="37214"/>
                  <a:pt x="32385" y="42929"/>
                  <a:pt x="26670" y="40072"/>
                </a:cubicBezTo>
                <a:cubicBezTo>
                  <a:pt x="14288" y="34357"/>
                  <a:pt x="953" y="27689"/>
                  <a:pt x="0" y="11497"/>
                </a:cubicBezTo>
                <a:cubicBezTo>
                  <a:pt x="0" y="4829"/>
                  <a:pt x="3810" y="-2791"/>
                  <a:pt x="11430" y="1019"/>
                </a:cubicBezTo>
                <a:cubicBezTo>
                  <a:pt x="24765" y="6734"/>
                  <a:pt x="34290" y="16259"/>
                  <a:pt x="39053" y="28642"/>
                </a:cubicBezTo>
                <a:close/>
              </a:path>
            </a:pathLst>
          </a:custGeom>
          <a:solidFill>
            <a:srgbClr val="E7F9EF">
              <a:alpha val="4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4" name="任意多边形: 形状 33"/>
          <p:cNvSpPr/>
          <p:nvPr/>
        </p:nvSpPr>
        <p:spPr>
          <a:xfrm>
            <a:off x="7381413" y="1009130"/>
            <a:ext cx="131363" cy="186915"/>
          </a:xfrm>
          <a:custGeom>
            <a:avLst/>
            <a:gdLst>
              <a:gd name="connsiteX0" fmla="*/ 80300 w 80300"/>
              <a:gd name="connsiteY0" fmla="*/ 68673 h 114258"/>
              <a:gd name="connsiteX1" fmla="*/ 62203 w 80300"/>
              <a:gd name="connsiteY1" fmla="*/ 113440 h 114258"/>
              <a:gd name="connsiteX2" fmla="*/ 28865 w 80300"/>
              <a:gd name="connsiteY2" fmla="*/ 90580 h 114258"/>
              <a:gd name="connsiteX3" fmla="*/ 2195 w 80300"/>
              <a:gd name="connsiteY3" fmla="*/ 40098 h 114258"/>
              <a:gd name="connsiteX4" fmla="*/ 44105 w 80300"/>
              <a:gd name="connsiteY4" fmla="*/ 1045 h 114258"/>
              <a:gd name="connsiteX5" fmla="*/ 80300 w 80300"/>
              <a:gd name="connsiteY5" fmla="*/ 68673 h 114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300" h="114258">
                <a:moveTo>
                  <a:pt x="80300" y="68673"/>
                </a:moveTo>
                <a:cubicBezTo>
                  <a:pt x="76490" y="84865"/>
                  <a:pt x="80300" y="106773"/>
                  <a:pt x="62203" y="113440"/>
                </a:cubicBezTo>
                <a:cubicBezTo>
                  <a:pt x="47915" y="118203"/>
                  <a:pt x="37438" y="101058"/>
                  <a:pt x="28865" y="90580"/>
                </a:cubicBezTo>
                <a:cubicBezTo>
                  <a:pt x="16483" y="76293"/>
                  <a:pt x="-7330" y="64863"/>
                  <a:pt x="2195" y="40098"/>
                </a:cubicBezTo>
                <a:cubicBezTo>
                  <a:pt x="9815" y="21048"/>
                  <a:pt x="20292" y="-5622"/>
                  <a:pt x="44105" y="1045"/>
                </a:cubicBezTo>
                <a:cubicBezTo>
                  <a:pt x="73633" y="8665"/>
                  <a:pt x="74585" y="42003"/>
                  <a:pt x="80300" y="68673"/>
                </a:cubicBezTo>
                <a:close/>
              </a:path>
            </a:pathLst>
          </a:custGeom>
          <a:solidFill>
            <a:srgbClr val="F6FCF8">
              <a:alpha val="4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35" name="任意多边形: 形状 34"/>
          <p:cNvSpPr/>
          <p:nvPr/>
        </p:nvSpPr>
        <p:spPr>
          <a:xfrm>
            <a:off x="7236975" y="1312656"/>
            <a:ext cx="149586" cy="170767"/>
          </a:xfrm>
          <a:custGeom>
            <a:avLst/>
            <a:gdLst>
              <a:gd name="connsiteX0" fmla="*/ 91440 w 91439"/>
              <a:gd name="connsiteY0" fmla="*/ 61250 h 104387"/>
              <a:gd name="connsiteX1" fmla="*/ 55245 w 91439"/>
              <a:gd name="connsiteY1" fmla="*/ 104113 h 104387"/>
              <a:gd name="connsiteX2" fmla="*/ 0 w 91439"/>
              <a:gd name="connsiteY2" fmla="*/ 69823 h 104387"/>
              <a:gd name="connsiteX3" fmla="*/ 36195 w 91439"/>
              <a:gd name="connsiteY3" fmla="*/ 290 h 104387"/>
              <a:gd name="connsiteX4" fmla="*/ 91440 w 91439"/>
              <a:gd name="connsiteY4" fmla="*/ 61250 h 104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39" h="104387">
                <a:moveTo>
                  <a:pt x="91440" y="61250"/>
                </a:moveTo>
                <a:cubicBezTo>
                  <a:pt x="85725" y="81253"/>
                  <a:pt x="76200" y="102208"/>
                  <a:pt x="55245" y="104113"/>
                </a:cubicBezTo>
                <a:cubicBezTo>
                  <a:pt x="30480" y="106970"/>
                  <a:pt x="0" y="86968"/>
                  <a:pt x="0" y="69823"/>
                </a:cubicBezTo>
                <a:cubicBezTo>
                  <a:pt x="0" y="46963"/>
                  <a:pt x="20955" y="22198"/>
                  <a:pt x="36195" y="290"/>
                </a:cubicBezTo>
                <a:cubicBezTo>
                  <a:pt x="40005" y="-4472"/>
                  <a:pt x="91440" y="50773"/>
                  <a:pt x="91440" y="61250"/>
                </a:cubicBezTo>
                <a:close/>
              </a:path>
            </a:pathLst>
          </a:custGeom>
          <a:solidFill>
            <a:srgbClr val="F5FBF6">
              <a:alpha val="4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矩形 58"/>
          <p:cNvSpPr/>
          <p:nvPr userDrawn="1"/>
        </p:nvSpPr>
        <p:spPr>
          <a:xfrm>
            <a:off x="0" y="365125"/>
            <a:ext cx="456676" cy="6635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矩形 59"/>
          <p:cNvSpPr/>
          <p:nvPr userDrawn="1"/>
        </p:nvSpPr>
        <p:spPr>
          <a:xfrm>
            <a:off x="12088623" y="365125"/>
            <a:ext cx="103377" cy="6635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2" name="直接连接符 61"/>
          <p:cNvCxnSpPr/>
          <p:nvPr userDrawn="1"/>
        </p:nvCxnSpPr>
        <p:spPr>
          <a:xfrm>
            <a:off x="660400" y="1028700"/>
            <a:ext cx="10858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600" y="6334888"/>
            <a:ext cx="2908300" cy="365125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第</a:t>
            </a:r>
            <a:fld id="{A7EB049D-2BDA-4100-846B-C83E7A7D8094}" type="slidenum">
              <a:rPr lang="zh-CN" altLang="en-US" smtClean="0"/>
            </a:fld>
            <a:r>
              <a:rPr lang="zh-CN" altLang="en-US"/>
              <a:t>页</a:t>
            </a:r>
            <a:endParaRPr lang="zh-CN" altLang="en-US" dirty="0"/>
          </a:p>
        </p:txBody>
      </p:sp>
      <p:cxnSp>
        <p:nvCxnSpPr>
          <p:cNvPr id="136" name="直接连接符 135"/>
          <p:cNvCxnSpPr/>
          <p:nvPr userDrawn="1"/>
        </p:nvCxnSpPr>
        <p:spPr>
          <a:xfrm>
            <a:off x="660400" y="6318357"/>
            <a:ext cx="10858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组合 134"/>
          <p:cNvGrpSpPr/>
          <p:nvPr userDrawn="1"/>
        </p:nvGrpSpPr>
        <p:grpSpPr>
          <a:xfrm>
            <a:off x="9853661" y="424906"/>
            <a:ext cx="1665239" cy="497182"/>
            <a:chOff x="6542864" y="-2423820"/>
            <a:chExt cx="2067736" cy="617354"/>
          </a:xfrm>
        </p:grpSpPr>
        <p:grpSp>
          <p:nvGrpSpPr>
            <p:cNvPr id="137" name="组合 136"/>
            <p:cNvGrpSpPr/>
            <p:nvPr userDrawn="1"/>
          </p:nvGrpSpPr>
          <p:grpSpPr>
            <a:xfrm>
              <a:off x="7269148" y="-2357712"/>
              <a:ext cx="1341452" cy="475995"/>
              <a:chOff x="7289664" y="1427891"/>
              <a:chExt cx="3341349" cy="1163136"/>
            </a:xfrm>
          </p:grpSpPr>
          <p:grpSp>
            <p:nvGrpSpPr>
              <p:cNvPr id="195" name="组合 194"/>
              <p:cNvGrpSpPr/>
              <p:nvPr/>
            </p:nvGrpSpPr>
            <p:grpSpPr>
              <a:xfrm>
                <a:off x="7298551" y="1427891"/>
                <a:ext cx="3252996" cy="885669"/>
                <a:chOff x="7320287" y="1500710"/>
                <a:chExt cx="3125692" cy="851009"/>
              </a:xfrm>
            </p:grpSpPr>
            <p:sp>
              <p:nvSpPr>
                <p:cNvPr id="197" name="任意多边形: 形状 196"/>
                <p:cNvSpPr/>
                <p:nvPr/>
              </p:nvSpPr>
              <p:spPr>
                <a:xfrm>
                  <a:off x="9854408" y="1555413"/>
                  <a:ext cx="591571" cy="796306"/>
                </a:xfrm>
                <a:custGeom>
                  <a:avLst/>
                  <a:gdLst>
                    <a:gd name="connsiteX0" fmla="*/ 807812 w 807811"/>
                    <a:gd name="connsiteY0" fmla="*/ 465074 h 993453"/>
                    <a:gd name="connsiteX1" fmla="*/ 671604 w 807811"/>
                    <a:gd name="connsiteY1" fmla="*/ 503174 h 993453"/>
                    <a:gd name="connsiteX2" fmla="*/ 582070 w 807811"/>
                    <a:gd name="connsiteY2" fmla="*/ 543179 h 993453"/>
                    <a:gd name="connsiteX3" fmla="*/ 512537 w 807811"/>
                    <a:gd name="connsiteY3" fmla="*/ 591756 h 993453"/>
                    <a:gd name="connsiteX4" fmla="*/ 487772 w 807811"/>
                    <a:gd name="connsiteY4" fmla="*/ 632714 h 993453"/>
                    <a:gd name="connsiteX5" fmla="*/ 531587 w 807811"/>
                    <a:gd name="connsiteY5" fmla="*/ 640334 h 993453"/>
                    <a:gd name="connsiteX6" fmla="*/ 624932 w 807811"/>
                    <a:gd name="connsiteY6" fmla="*/ 622236 h 993453"/>
                    <a:gd name="connsiteX7" fmla="*/ 709704 w 807811"/>
                    <a:gd name="connsiteY7" fmla="*/ 710819 h 993453"/>
                    <a:gd name="connsiteX8" fmla="*/ 673509 w 807811"/>
                    <a:gd name="connsiteY8" fmla="*/ 735584 h 993453"/>
                    <a:gd name="connsiteX9" fmla="*/ 588737 w 807811"/>
                    <a:gd name="connsiteY9" fmla="*/ 725106 h 993453"/>
                    <a:gd name="connsiteX10" fmla="*/ 507774 w 807811"/>
                    <a:gd name="connsiteY10" fmla="*/ 792734 h 993453"/>
                    <a:gd name="connsiteX11" fmla="*/ 421097 w 807811"/>
                    <a:gd name="connsiteY11" fmla="*/ 977519 h 993453"/>
                    <a:gd name="connsiteX12" fmla="*/ 362042 w 807811"/>
                    <a:gd name="connsiteY12" fmla="*/ 980376 h 993453"/>
                    <a:gd name="connsiteX13" fmla="*/ 227740 w 807811"/>
                    <a:gd name="connsiteY13" fmla="*/ 866076 h 993453"/>
                    <a:gd name="connsiteX14" fmla="*/ 342992 w 807811"/>
                    <a:gd name="connsiteY14" fmla="*/ 856551 h 993453"/>
                    <a:gd name="connsiteX15" fmla="*/ 397284 w 807811"/>
                    <a:gd name="connsiteY15" fmla="*/ 765111 h 993453"/>
                    <a:gd name="connsiteX16" fmla="*/ 371567 w 807811"/>
                    <a:gd name="connsiteY16" fmla="*/ 750824 h 993453"/>
                    <a:gd name="connsiteX17" fmla="*/ 278222 w 807811"/>
                    <a:gd name="connsiteY17" fmla="*/ 766064 h 993453"/>
                    <a:gd name="connsiteX18" fmla="*/ 142967 w 807811"/>
                    <a:gd name="connsiteY18" fmla="*/ 738441 h 993453"/>
                    <a:gd name="connsiteX19" fmla="*/ 153445 w 807811"/>
                    <a:gd name="connsiteY19" fmla="*/ 685101 h 993453"/>
                    <a:gd name="connsiteX20" fmla="*/ 261077 w 807811"/>
                    <a:gd name="connsiteY20" fmla="*/ 676529 h 993453"/>
                    <a:gd name="connsiteX21" fmla="*/ 332515 w 807811"/>
                    <a:gd name="connsiteY21" fmla="*/ 674624 h 993453"/>
                    <a:gd name="connsiteX22" fmla="*/ 358232 w 807811"/>
                    <a:gd name="connsiteY22" fmla="*/ 654621 h 993453"/>
                    <a:gd name="connsiteX23" fmla="*/ 401095 w 807811"/>
                    <a:gd name="connsiteY23" fmla="*/ 581279 h 993453"/>
                    <a:gd name="connsiteX24" fmla="*/ 428717 w 807811"/>
                    <a:gd name="connsiteY24" fmla="*/ 552704 h 993453"/>
                    <a:gd name="connsiteX25" fmla="*/ 344897 w 807811"/>
                    <a:gd name="connsiteY25" fmla="*/ 566991 h 993453"/>
                    <a:gd name="connsiteX26" fmla="*/ 263934 w 807811"/>
                    <a:gd name="connsiteY26" fmla="*/ 606044 h 993453"/>
                    <a:gd name="connsiteX27" fmla="*/ 199165 w 807811"/>
                    <a:gd name="connsiteY27" fmla="*/ 579374 h 993453"/>
                    <a:gd name="connsiteX28" fmla="*/ 233454 w 807811"/>
                    <a:gd name="connsiteY28" fmla="*/ 537464 h 993453"/>
                    <a:gd name="connsiteX29" fmla="*/ 573497 w 807811"/>
                    <a:gd name="connsiteY29" fmla="*/ 458406 h 993453"/>
                    <a:gd name="connsiteX30" fmla="*/ 620170 w 807811"/>
                    <a:gd name="connsiteY30" fmla="*/ 454596 h 993453"/>
                    <a:gd name="connsiteX31" fmla="*/ 545874 w 807811"/>
                    <a:gd name="connsiteY31" fmla="*/ 432689 h 993453"/>
                    <a:gd name="connsiteX32" fmla="*/ 310607 w 807811"/>
                    <a:gd name="connsiteY32" fmla="*/ 481266 h 993453"/>
                    <a:gd name="connsiteX33" fmla="*/ 222024 w 807811"/>
                    <a:gd name="connsiteY33" fmla="*/ 493649 h 993453"/>
                    <a:gd name="connsiteX34" fmla="*/ 127727 w 807811"/>
                    <a:gd name="connsiteY34" fmla="*/ 587946 h 993453"/>
                    <a:gd name="connsiteX35" fmla="*/ 84865 w 807811"/>
                    <a:gd name="connsiteY35" fmla="*/ 687959 h 993453"/>
                    <a:gd name="connsiteX36" fmla="*/ 37240 w 807811"/>
                    <a:gd name="connsiteY36" fmla="*/ 705104 h 993453"/>
                    <a:gd name="connsiteX37" fmla="*/ 1997 w 807811"/>
                    <a:gd name="connsiteY37" fmla="*/ 651764 h 993453"/>
                    <a:gd name="connsiteX38" fmla="*/ 16284 w 807811"/>
                    <a:gd name="connsiteY38" fmla="*/ 519366 h 993453"/>
                    <a:gd name="connsiteX39" fmla="*/ 92484 w 807811"/>
                    <a:gd name="connsiteY39" fmla="*/ 465074 h 993453"/>
                    <a:gd name="connsiteX40" fmla="*/ 146777 w 807811"/>
                    <a:gd name="connsiteY40" fmla="*/ 427926 h 993453"/>
                    <a:gd name="connsiteX41" fmla="*/ 137252 w 807811"/>
                    <a:gd name="connsiteY41" fmla="*/ 233616 h 993453"/>
                    <a:gd name="connsiteX42" fmla="*/ 132490 w 807811"/>
                    <a:gd name="connsiteY42" fmla="*/ 215518 h 993453"/>
                    <a:gd name="connsiteX43" fmla="*/ 149634 w 807811"/>
                    <a:gd name="connsiteY43" fmla="*/ 159321 h 993453"/>
                    <a:gd name="connsiteX44" fmla="*/ 191545 w 807811"/>
                    <a:gd name="connsiteY44" fmla="*/ 187896 h 993453"/>
                    <a:gd name="connsiteX45" fmla="*/ 219167 w 807811"/>
                    <a:gd name="connsiteY45" fmla="*/ 269811 h 993453"/>
                    <a:gd name="connsiteX46" fmla="*/ 214404 w 807811"/>
                    <a:gd name="connsiteY46" fmla="*/ 384111 h 993453"/>
                    <a:gd name="connsiteX47" fmla="*/ 233454 w 807811"/>
                    <a:gd name="connsiteY47" fmla="*/ 419354 h 993453"/>
                    <a:gd name="connsiteX48" fmla="*/ 248695 w 807811"/>
                    <a:gd name="connsiteY48" fmla="*/ 385064 h 993453"/>
                    <a:gd name="connsiteX49" fmla="*/ 242979 w 807811"/>
                    <a:gd name="connsiteY49" fmla="*/ 132651 h 993453"/>
                    <a:gd name="connsiteX50" fmla="*/ 295367 w 807811"/>
                    <a:gd name="connsiteY50" fmla="*/ 85026 h 993453"/>
                    <a:gd name="connsiteX51" fmla="*/ 325847 w 807811"/>
                    <a:gd name="connsiteY51" fmla="*/ 81216 h 993453"/>
                    <a:gd name="connsiteX52" fmla="*/ 393474 w 807811"/>
                    <a:gd name="connsiteY52" fmla="*/ 84074 h 993453"/>
                    <a:gd name="connsiteX53" fmla="*/ 448720 w 807811"/>
                    <a:gd name="connsiteY53" fmla="*/ 61214 h 993453"/>
                    <a:gd name="connsiteX54" fmla="*/ 489677 w 807811"/>
                    <a:gd name="connsiteY54" fmla="*/ 254 h 993453"/>
                    <a:gd name="connsiteX55" fmla="*/ 545874 w 807811"/>
                    <a:gd name="connsiteY55" fmla="*/ 90741 h 993453"/>
                    <a:gd name="connsiteX56" fmla="*/ 574449 w 807811"/>
                    <a:gd name="connsiteY56" fmla="*/ 205993 h 993453"/>
                    <a:gd name="connsiteX57" fmla="*/ 544922 w 807811"/>
                    <a:gd name="connsiteY57" fmla="*/ 179324 h 993453"/>
                    <a:gd name="connsiteX58" fmla="*/ 558257 w 807811"/>
                    <a:gd name="connsiteY58" fmla="*/ 124079 h 993453"/>
                    <a:gd name="connsiteX59" fmla="*/ 614454 w 807811"/>
                    <a:gd name="connsiteY59" fmla="*/ 113601 h 993453"/>
                    <a:gd name="connsiteX60" fmla="*/ 692559 w 807811"/>
                    <a:gd name="connsiteY60" fmla="*/ 221234 h 993453"/>
                    <a:gd name="connsiteX61" fmla="*/ 618265 w 807811"/>
                    <a:gd name="connsiteY61" fmla="*/ 372681 h 993453"/>
                    <a:gd name="connsiteX62" fmla="*/ 787809 w 807811"/>
                    <a:gd name="connsiteY62" fmla="*/ 425068 h 993453"/>
                    <a:gd name="connsiteX63" fmla="*/ 804954 w 807811"/>
                    <a:gd name="connsiteY63" fmla="*/ 427926 h 993453"/>
                    <a:gd name="connsiteX64" fmla="*/ 807812 w 807811"/>
                    <a:gd name="connsiteY64" fmla="*/ 465074 h 993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</a:cxnLst>
                  <a:rect l="l" t="t" r="r" b="b"/>
                  <a:pathLst>
                    <a:path w="807811" h="993453">
                      <a:moveTo>
                        <a:pt x="807812" y="465074"/>
                      </a:moveTo>
                      <a:cubicBezTo>
                        <a:pt x="768759" y="501268"/>
                        <a:pt x="721134" y="506031"/>
                        <a:pt x="671604" y="503174"/>
                      </a:cubicBezTo>
                      <a:cubicBezTo>
                        <a:pt x="635409" y="501268"/>
                        <a:pt x="603977" y="507936"/>
                        <a:pt x="582070" y="543179"/>
                      </a:cubicBezTo>
                      <a:cubicBezTo>
                        <a:pt x="566829" y="567944"/>
                        <a:pt x="534445" y="572706"/>
                        <a:pt x="512537" y="591756"/>
                      </a:cubicBezTo>
                      <a:cubicBezTo>
                        <a:pt x="500154" y="602234"/>
                        <a:pt x="478247" y="613664"/>
                        <a:pt x="487772" y="632714"/>
                      </a:cubicBezTo>
                      <a:cubicBezTo>
                        <a:pt x="495392" y="647954"/>
                        <a:pt x="515395" y="643191"/>
                        <a:pt x="531587" y="640334"/>
                      </a:cubicBezTo>
                      <a:cubicBezTo>
                        <a:pt x="563020" y="634619"/>
                        <a:pt x="593499" y="627951"/>
                        <a:pt x="624932" y="622236"/>
                      </a:cubicBezTo>
                      <a:cubicBezTo>
                        <a:pt x="666842" y="614616"/>
                        <a:pt x="720182" y="670814"/>
                        <a:pt x="709704" y="710819"/>
                      </a:cubicBezTo>
                      <a:cubicBezTo>
                        <a:pt x="704942" y="729869"/>
                        <a:pt x="690654" y="734631"/>
                        <a:pt x="673509" y="735584"/>
                      </a:cubicBezTo>
                      <a:cubicBezTo>
                        <a:pt x="644934" y="736536"/>
                        <a:pt x="617312" y="730821"/>
                        <a:pt x="588737" y="725106"/>
                      </a:cubicBezTo>
                      <a:cubicBezTo>
                        <a:pt x="521109" y="710819"/>
                        <a:pt x="499202" y="727011"/>
                        <a:pt x="507774" y="792734"/>
                      </a:cubicBezTo>
                      <a:cubicBezTo>
                        <a:pt x="518252" y="874649"/>
                        <a:pt x="474437" y="927036"/>
                        <a:pt x="421097" y="977519"/>
                      </a:cubicBezTo>
                      <a:cubicBezTo>
                        <a:pt x="402999" y="994664"/>
                        <a:pt x="379187" y="1001331"/>
                        <a:pt x="362042" y="980376"/>
                      </a:cubicBezTo>
                      <a:cubicBezTo>
                        <a:pt x="326799" y="936561"/>
                        <a:pt x="279174" y="907986"/>
                        <a:pt x="227740" y="866076"/>
                      </a:cubicBezTo>
                      <a:cubicBezTo>
                        <a:pt x="273459" y="862266"/>
                        <a:pt x="308702" y="860361"/>
                        <a:pt x="342992" y="856551"/>
                      </a:cubicBezTo>
                      <a:cubicBezTo>
                        <a:pt x="392522" y="851789"/>
                        <a:pt x="416334" y="810831"/>
                        <a:pt x="397284" y="765111"/>
                      </a:cubicBezTo>
                      <a:cubicBezTo>
                        <a:pt x="391570" y="750824"/>
                        <a:pt x="382045" y="751776"/>
                        <a:pt x="371567" y="750824"/>
                      </a:cubicBezTo>
                      <a:cubicBezTo>
                        <a:pt x="339182" y="747014"/>
                        <a:pt x="308702" y="756539"/>
                        <a:pt x="278222" y="766064"/>
                      </a:cubicBezTo>
                      <a:cubicBezTo>
                        <a:pt x="228692" y="781304"/>
                        <a:pt x="181067" y="781304"/>
                        <a:pt x="142967" y="738441"/>
                      </a:cubicBezTo>
                      <a:cubicBezTo>
                        <a:pt x="121059" y="713676"/>
                        <a:pt x="123917" y="698436"/>
                        <a:pt x="153445" y="685101"/>
                      </a:cubicBezTo>
                      <a:cubicBezTo>
                        <a:pt x="188687" y="669861"/>
                        <a:pt x="225834" y="678434"/>
                        <a:pt x="261077" y="676529"/>
                      </a:cubicBezTo>
                      <a:cubicBezTo>
                        <a:pt x="284890" y="675576"/>
                        <a:pt x="308702" y="676529"/>
                        <a:pt x="332515" y="674624"/>
                      </a:cubicBezTo>
                      <a:cubicBezTo>
                        <a:pt x="344897" y="673671"/>
                        <a:pt x="364899" y="669861"/>
                        <a:pt x="358232" y="654621"/>
                      </a:cubicBezTo>
                      <a:cubicBezTo>
                        <a:pt x="336324" y="606996"/>
                        <a:pt x="376329" y="599376"/>
                        <a:pt x="401095" y="581279"/>
                      </a:cubicBezTo>
                      <a:cubicBezTo>
                        <a:pt x="411572" y="573659"/>
                        <a:pt x="423002" y="567944"/>
                        <a:pt x="428717" y="552704"/>
                      </a:cubicBezTo>
                      <a:cubicBezTo>
                        <a:pt x="397284" y="536511"/>
                        <a:pt x="371567" y="556514"/>
                        <a:pt x="344897" y="566991"/>
                      </a:cubicBezTo>
                      <a:cubicBezTo>
                        <a:pt x="317274" y="578421"/>
                        <a:pt x="292509" y="596519"/>
                        <a:pt x="263934" y="606044"/>
                      </a:cubicBezTo>
                      <a:cubicBezTo>
                        <a:pt x="237265" y="615569"/>
                        <a:pt x="210595" y="604139"/>
                        <a:pt x="199165" y="579374"/>
                      </a:cubicBezTo>
                      <a:cubicBezTo>
                        <a:pt x="186782" y="551751"/>
                        <a:pt x="216309" y="546036"/>
                        <a:pt x="233454" y="537464"/>
                      </a:cubicBezTo>
                      <a:cubicBezTo>
                        <a:pt x="340134" y="482218"/>
                        <a:pt x="456340" y="469836"/>
                        <a:pt x="573497" y="458406"/>
                      </a:cubicBezTo>
                      <a:cubicBezTo>
                        <a:pt x="586832" y="457454"/>
                        <a:pt x="601120" y="456501"/>
                        <a:pt x="620170" y="454596"/>
                      </a:cubicBezTo>
                      <a:cubicBezTo>
                        <a:pt x="598262" y="424116"/>
                        <a:pt x="570640" y="427926"/>
                        <a:pt x="545874" y="432689"/>
                      </a:cubicBezTo>
                      <a:cubicBezTo>
                        <a:pt x="467770" y="448881"/>
                        <a:pt x="384902" y="436499"/>
                        <a:pt x="310607" y="481266"/>
                      </a:cubicBezTo>
                      <a:cubicBezTo>
                        <a:pt x="287747" y="495554"/>
                        <a:pt x="251552" y="484124"/>
                        <a:pt x="222024" y="493649"/>
                      </a:cubicBezTo>
                      <a:cubicBezTo>
                        <a:pt x="173447" y="508889"/>
                        <a:pt x="138204" y="533654"/>
                        <a:pt x="127727" y="587946"/>
                      </a:cubicBezTo>
                      <a:cubicBezTo>
                        <a:pt x="121059" y="623189"/>
                        <a:pt x="107724" y="658431"/>
                        <a:pt x="84865" y="687959"/>
                      </a:cubicBezTo>
                      <a:cubicBezTo>
                        <a:pt x="73434" y="703199"/>
                        <a:pt x="59147" y="719391"/>
                        <a:pt x="37240" y="705104"/>
                      </a:cubicBezTo>
                      <a:cubicBezTo>
                        <a:pt x="19142" y="692721"/>
                        <a:pt x="-7528" y="685101"/>
                        <a:pt x="1997" y="651764"/>
                      </a:cubicBezTo>
                      <a:cubicBezTo>
                        <a:pt x="13427" y="608901"/>
                        <a:pt x="13427" y="564134"/>
                        <a:pt x="16284" y="519366"/>
                      </a:cubicBezTo>
                      <a:cubicBezTo>
                        <a:pt x="19142" y="466979"/>
                        <a:pt x="43907" y="450786"/>
                        <a:pt x="92484" y="465074"/>
                      </a:cubicBezTo>
                      <a:cubicBezTo>
                        <a:pt x="125822" y="474599"/>
                        <a:pt x="146777" y="462216"/>
                        <a:pt x="146777" y="427926"/>
                      </a:cubicBezTo>
                      <a:cubicBezTo>
                        <a:pt x="147729" y="363156"/>
                        <a:pt x="153445" y="297434"/>
                        <a:pt x="137252" y="233616"/>
                      </a:cubicBezTo>
                      <a:cubicBezTo>
                        <a:pt x="135347" y="227901"/>
                        <a:pt x="133442" y="221234"/>
                        <a:pt x="132490" y="215518"/>
                      </a:cubicBezTo>
                      <a:cubicBezTo>
                        <a:pt x="130584" y="194564"/>
                        <a:pt x="131537" y="168846"/>
                        <a:pt x="149634" y="159321"/>
                      </a:cubicBezTo>
                      <a:cubicBezTo>
                        <a:pt x="170590" y="147891"/>
                        <a:pt x="179162" y="175514"/>
                        <a:pt x="191545" y="187896"/>
                      </a:cubicBezTo>
                      <a:cubicBezTo>
                        <a:pt x="213452" y="209804"/>
                        <a:pt x="222977" y="237426"/>
                        <a:pt x="219167" y="269811"/>
                      </a:cubicBezTo>
                      <a:cubicBezTo>
                        <a:pt x="215357" y="307911"/>
                        <a:pt x="215357" y="346011"/>
                        <a:pt x="214404" y="384111"/>
                      </a:cubicBezTo>
                      <a:cubicBezTo>
                        <a:pt x="214404" y="399351"/>
                        <a:pt x="209642" y="421259"/>
                        <a:pt x="233454" y="419354"/>
                      </a:cubicBezTo>
                      <a:cubicBezTo>
                        <a:pt x="252504" y="418401"/>
                        <a:pt x="248695" y="398399"/>
                        <a:pt x="248695" y="385064"/>
                      </a:cubicBezTo>
                      <a:cubicBezTo>
                        <a:pt x="246790" y="301243"/>
                        <a:pt x="245837" y="217424"/>
                        <a:pt x="242979" y="132651"/>
                      </a:cubicBezTo>
                      <a:cubicBezTo>
                        <a:pt x="241074" y="92646"/>
                        <a:pt x="249647" y="69786"/>
                        <a:pt x="295367" y="85026"/>
                      </a:cubicBezTo>
                      <a:cubicBezTo>
                        <a:pt x="306797" y="88836"/>
                        <a:pt x="316322" y="88836"/>
                        <a:pt x="325847" y="81216"/>
                      </a:cubicBezTo>
                      <a:cubicBezTo>
                        <a:pt x="348707" y="61214"/>
                        <a:pt x="369662" y="65024"/>
                        <a:pt x="393474" y="84074"/>
                      </a:cubicBezTo>
                      <a:cubicBezTo>
                        <a:pt x="423002" y="107886"/>
                        <a:pt x="441099" y="97409"/>
                        <a:pt x="448720" y="61214"/>
                      </a:cubicBezTo>
                      <a:cubicBezTo>
                        <a:pt x="454434" y="36449"/>
                        <a:pt x="444909" y="-3556"/>
                        <a:pt x="489677" y="254"/>
                      </a:cubicBezTo>
                      <a:cubicBezTo>
                        <a:pt x="523967" y="3111"/>
                        <a:pt x="549684" y="47879"/>
                        <a:pt x="545874" y="90741"/>
                      </a:cubicBezTo>
                      <a:cubicBezTo>
                        <a:pt x="510632" y="158368"/>
                        <a:pt x="513490" y="170751"/>
                        <a:pt x="574449" y="205993"/>
                      </a:cubicBezTo>
                      <a:cubicBezTo>
                        <a:pt x="564924" y="189801"/>
                        <a:pt x="552542" y="186943"/>
                        <a:pt x="544922" y="179324"/>
                      </a:cubicBezTo>
                      <a:cubicBezTo>
                        <a:pt x="513490" y="151701"/>
                        <a:pt x="515395" y="140271"/>
                        <a:pt x="558257" y="124079"/>
                      </a:cubicBezTo>
                      <a:cubicBezTo>
                        <a:pt x="577307" y="120268"/>
                        <a:pt x="595404" y="115506"/>
                        <a:pt x="614454" y="113601"/>
                      </a:cubicBezTo>
                      <a:cubicBezTo>
                        <a:pt x="694465" y="106934"/>
                        <a:pt x="724945" y="147891"/>
                        <a:pt x="692559" y="221234"/>
                      </a:cubicBezTo>
                      <a:cubicBezTo>
                        <a:pt x="671604" y="269811"/>
                        <a:pt x="645887" y="317436"/>
                        <a:pt x="618265" y="372681"/>
                      </a:cubicBezTo>
                      <a:cubicBezTo>
                        <a:pt x="692559" y="349821"/>
                        <a:pt x="745899" y="371729"/>
                        <a:pt x="787809" y="425068"/>
                      </a:cubicBezTo>
                      <a:cubicBezTo>
                        <a:pt x="790667" y="427926"/>
                        <a:pt x="799240" y="426974"/>
                        <a:pt x="804954" y="427926"/>
                      </a:cubicBezTo>
                      <a:cubicBezTo>
                        <a:pt x="807812" y="439356"/>
                        <a:pt x="807812" y="452691"/>
                        <a:pt x="807812" y="465074"/>
                      </a:cubicBezTo>
                      <a:close/>
                    </a:path>
                  </a:pathLst>
                </a:custGeom>
                <a:solidFill>
                  <a:srgbClr val="04482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8" name="任意多边形: 形状 197"/>
                <p:cNvSpPr/>
                <p:nvPr/>
              </p:nvSpPr>
              <p:spPr>
                <a:xfrm>
                  <a:off x="7320287" y="1500710"/>
                  <a:ext cx="507923" cy="842324"/>
                </a:xfrm>
                <a:custGeom>
                  <a:avLst/>
                  <a:gdLst>
                    <a:gd name="connsiteX0" fmla="*/ 263992 w 693588"/>
                    <a:gd name="connsiteY0" fmla="*/ 164702 h 1050864"/>
                    <a:gd name="connsiteX1" fmla="*/ 254467 w 693588"/>
                    <a:gd name="connsiteY1" fmla="*/ 89455 h 1050864"/>
                    <a:gd name="connsiteX2" fmla="*/ 314474 w 693588"/>
                    <a:gd name="connsiteY2" fmla="*/ 872 h 1050864"/>
                    <a:gd name="connsiteX3" fmla="*/ 396389 w 693588"/>
                    <a:gd name="connsiteY3" fmla="*/ 69452 h 1050864"/>
                    <a:gd name="connsiteX4" fmla="*/ 401152 w 693588"/>
                    <a:gd name="connsiteY4" fmla="*/ 97075 h 1050864"/>
                    <a:gd name="connsiteX5" fmla="*/ 413534 w 693588"/>
                    <a:gd name="connsiteY5" fmla="*/ 171370 h 1050864"/>
                    <a:gd name="connsiteX6" fmla="*/ 524024 w 693588"/>
                    <a:gd name="connsiteY6" fmla="*/ 158987 h 1050864"/>
                    <a:gd name="connsiteX7" fmla="*/ 674519 w 693588"/>
                    <a:gd name="connsiteY7" fmla="*/ 193277 h 1050864"/>
                    <a:gd name="connsiteX8" fmla="*/ 660232 w 693588"/>
                    <a:gd name="connsiteY8" fmla="*/ 283765 h 1050864"/>
                    <a:gd name="connsiteX9" fmla="*/ 609749 w 693588"/>
                    <a:gd name="connsiteY9" fmla="*/ 403780 h 1050864"/>
                    <a:gd name="connsiteX10" fmla="*/ 586889 w 693588"/>
                    <a:gd name="connsiteY10" fmla="*/ 452358 h 1050864"/>
                    <a:gd name="connsiteX11" fmla="*/ 504974 w 693588"/>
                    <a:gd name="connsiteY11" fmla="*/ 486647 h 1050864"/>
                    <a:gd name="connsiteX12" fmla="*/ 414487 w 693588"/>
                    <a:gd name="connsiteY12" fmla="*/ 593327 h 1050864"/>
                    <a:gd name="connsiteX13" fmla="*/ 413534 w 693588"/>
                    <a:gd name="connsiteY13" fmla="*/ 964802 h 1050864"/>
                    <a:gd name="connsiteX14" fmla="*/ 372577 w 693588"/>
                    <a:gd name="connsiteY14" fmla="*/ 1050527 h 1050864"/>
                    <a:gd name="connsiteX15" fmla="*/ 309712 w 693588"/>
                    <a:gd name="connsiteY15" fmla="*/ 974327 h 1050864"/>
                    <a:gd name="connsiteX16" fmla="*/ 290662 w 693588"/>
                    <a:gd name="connsiteY16" fmla="*/ 742870 h 1050864"/>
                    <a:gd name="connsiteX17" fmla="*/ 279231 w 693588"/>
                    <a:gd name="connsiteY17" fmla="*/ 610472 h 1050864"/>
                    <a:gd name="connsiteX18" fmla="*/ 227797 w 693588"/>
                    <a:gd name="connsiteY18" fmla="*/ 582850 h 1050864"/>
                    <a:gd name="connsiteX19" fmla="*/ 157312 w 693588"/>
                    <a:gd name="connsiteY19" fmla="*/ 630475 h 1050864"/>
                    <a:gd name="connsiteX20" fmla="*/ 67777 w 693588"/>
                    <a:gd name="connsiteY20" fmla="*/ 628570 h 1050864"/>
                    <a:gd name="connsiteX21" fmla="*/ 12531 w 693588"/>
                    <a:gd name="connsiteY21" fmla="*/ 425687 h 1050864"/>
                    <a:gd name="connsiteX22" fmla="*/ 23009 w 693588"/>
                    <a:gd name="connsiteY22" fmla="*/ 369490 h 1050864"/>
                    <a:gd name="connsiteX23" fmla="*/ 101114 w 693588"/>
                    <a:gd name="connsiteY23" fmla="*/ 303767 h 1050864"/>
                    <a:gd name="connsiteX24" fmla="*/ 214462 w 693588"/>
                    <a:gd name="connsiteY24" fmla="*/ 252333 h 1050864"/>
                    <a:gd name="connsiteX25" fmla="*/ 263992 w 693588"/>
                    <a:gd name="connsiteY25" fmla="*/ 164702 h 10508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693588" h="1050864">
                      <a:moveTo>
                        <a:pt x="263992" y="164702"/>
                      </a:moveTo>
                      <a:cubicBezTo>
                        <a:pt x="260181" y="139937"/>
                        <a:pt x="257324" y="114220"/>
                        <a:pt x="254467" y="89455"/>
                      </a:cubicBezTo>
                      <a:cubicBezTo>
                        <a:pt x="249704" y="47545"/>
                        <a:pt x="276374" y="8492"/>
                        <a:pt x="314474" y="872"/>
                      </a:cubicBezTo>
                      <a:cubicBezTo>
                        <a:pt x="349717" y="-5795"/>
                        <a:pt x="388769" y="26590"/>
                        <a:pt x="396389" y="69452"/>
                      </a:cubicBezTo>
                      <a:cubicBezTo>
                        <a:pt x="398294" y="78977"/>
                        <a:pt x="399247" y="88502"/>
                        <a:pt x="401152" y="97075"/>
                      </a:cubicBezTo>
                      <a:cubicBezTo>
                        <a:pt x="407819" y="122792"/>
                        <a:pt x="394484" y="167560"/>
                        <a:pt x="413534" y="171370"/>
                      </a:cubicBezTo>
                      <a:cubicBezTo>
                        <a:pt x="447824" y="178990"/>
                        <a:pt x="488781" y="174227"/>
                        <a:pt x="524024" y="158987"/>
                      </a:cubicBezTo>
                      <a:cubicBezTo>
                        <a:pt x="586889" y="130412"/>
                        <a:pt x="630704" y="140890"/>
                        <a:pt x="674519" y="193277"/>
                      </a:cubicBezTo>
                      <a:cubicBezTo>
                        <a:pt x="704047" y="229472"/>
                        <a:pt x="699284" y="259952"/>
                        <a:pt x="660232" y="283765"/>
                      </a:cubicBezTo>
                      <a:cubicBezTo>
                        <a:pt x="594509" y="323770"/>
                        <a:pt x="593557" y="325675"/>
                        <a:pt x="609749" y="403780"/>
                      </a:cubicBezTo>
                      <a:cubicBezTo>
                        <a:pt x="614512" y="425687"/>
                        <a:pt x="602129" y="439975"/>
                        <a:pt x="586889" y="452358"/>
                      </a:cubicBezTo>
                      <a:cubicBezTo>
                        <a:pt x="562124" y="470455"/>
                        <a:pt x="535454" y="481885"/>
                        <a:pt x="504974" y="486647"/>
                      </a:cubicBezTo>
                      <a:cubicBezTo>
                        <a:pt x="437347" y="497125"/>
                        <a:pt x="414487" y="526652"/>
                        <a:pt x="414487" y="593327"/>
                      </a:cubicBezTo>
                      <a:cubicBezTo>
                        <a:pt x="414487" y="717152"/>
                        <a:pt x="415439" y="840977"/>
                        <a:pt x="413534" y="964802"/>
                      </a:cubicBezTo>
                      <a:cubicBezTo>
                        <a:pt x="413534" y="998140"/>
                        <a:pt x="416392" y="1045765"/>
                        <a:pt x="372577" y="1050527"/>
                      </a:cubicBezTo>
                      <a:cubicBezTo>
                        <a:pt x="328762" y="1055290"/>
                        <a:pt x="314474" y="1008617"/>
                        <a:pt x="309712" y="974327"/>
                      </a:cubicBezTo>
                      <a:cubicBezTo>
                        <a:pt x="299234" y="897175"/>
                        <a:pt x="297329" y="820022"/>
                        <a:pt x="290662" y="742870"/>
                      </a:cubicBezTo>
                      <a:cubicBezTo>
                        <a:pt x="286852" y="699055"/>
                        <a:pt x="281137" y="654288"/>
                        <a:pt x="279231" y="610472"/>
                      </a:cubicBezTo>
                      <a:cubicBezTo>
                        <a:pt x="277327" y="570467"/>
                        <a:pt x="260181" y="566658"/>
                        <a:pt x="227797" y="582850"/>
                      </a:cubicBezTo>
                      <a:cubicBezTo>
                        <a:pt x="202079" y="596185"/>
                        <a:pt x="177314" y="609520"/>
                        <a:pt x="157312" y="630475"/>
                      </a:cubicBezTo>
                      <a:cubicBezTo>
                        <a:pt x="126831" y="663813"/>
                        <a:pt x="95399" y="664765"/>
                        <a:pt x="67777" y="628570"/>
                      </a:cubicBezTo>
                      <a:cubicBezTo>
                        <a:pt x="23009" y="568563"/>
                        <a:pt x="-22711" y="508555"/>
                        <a:pt x="12531" y="425687"/>
                      </a:cubicBezTo>
                      <a:cubicBezTo>
                        <a:pt x="20152" y="408542"/>
                        <a:pt x="20152" y="388540"/>
                        <a:pt x="23009" y="369490"/>
                      </a:cubicBezTo>
                      <a:cubicBezTo>
                        <a:pt x="30629" y="315197"/>
                        <a:pt x="46822" y="299005"/>
                        <a:pt x="101114" y="303767"/>
                      </a:cubicBezTo>
                      <a:cubicBezTo>
                        <a:pt x="150644" y="308530"/>
                        <a:pt x="175409" y="265667"/>
                        <a:pt x="214462" y="252333"/>
                      </a:cubicBezTo>
                      <a:cubicBezTo>
                        <a:pt x="258277" y="237092"/>
                        <a:pt x="276374" y="210422"/>
                        <a:pt x="263992" y="164702"/>
                      </a:cubicBezTo>
                      <a:close/>
                    </a:path>
                  </a:pathLst>
                </a:custGeom>
                <a:solidFill>
                  <a:srgbClr val="0249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9" name="任意多边形: 形状 198"/>
                <p:cNvSpPr/>
                <p:nvPr/>
              </p:nvSpPr>
              <p:spPr>
                <a:xfrm>
                  <a:off x="8914870" y="1615875"/>
                  <a:ext cx="639986" cy="617751"/>
                </a:xfrm>
                <a:custGeom>
                  <a:avLst/>
                  <a:gdLst>
                    <a:gd name="connsiteX0" fmla="*/ 249086 w 873926"/>
                    <a:gd name="connsiteY0" fmla="*/ 379169 h 770690"/>
                    <a:gd name="connsiteX1" fmla="*/ 165266 w 873926"/>
                    <a:gd name="connsiteY1" fmla="*/ 394409 h 770690"/>
                    <a:gd name="connsiteX2" fmla="*/ 22391 w 873926"/>
                    <a:gd name="connsiteY2" fmla="*/ 275346 h 770690"/>
                    <a:gd name="connsiteX3" fmla="*/ 76684 w 873926"/>
                    <a:gd name="connsiteY3" fmla="*/ 219149 h 770690"/>
                    <a:gd name="connsiteX4" fmla="*/ 223369 w 873926"/>
                    <a:gd name="connsiteY4" fmla="*/ 232484 h 770690"/>
                    <a:gd name="connsiteX5" fmla="*/ 264326 w 873926"/>
                    <a:gd name="connsiteY5" fmla="*/ 191526 h 770690"/>
                    <a:gd name="connsiteX6" fmla="*/ 254801 w 873926"/>
                    <a:gd name="connsiteY6" fmla="*/ 97229 h 770690"/>
                    <a:gd name="connsiteX7" fmla="*/ 337669 w 873926"/>
                    <a:gd name="connsiteY7" fmla="*/ 74 h 770690"/>
                    <a:gd name="connsiteX8" fmla="*/ 425299 w 873926"/>
                    <a:gd name="connsiteY8" fmla="*/ 88656 h 770690"/>
                    <a:gd name="connsiteX9" fmla="*/ 426251 w 873926"/>
                    <a:gd name="connsiteY9" fmla="*/ 107706 h 770690"/>
                    <a:gd name="connsiteX10" fmla="*/ 429109 w 873926"/>
                    <a:gd name="connsiteY10" fmla="*/ 164856 h 770690"/>
                    <a:gd name="connsiteX11" fmla="*/ 504356 w 873926"/>
                    <a:gd name="connsiteY11" fmla="*/ 151521 h 770690"/>
                    <a:gd name="connsiteX12" fmla="*/ 577699 w 873926"/>
                    <a:gd name="connsiteY12" fmla="*/ 148664 h 770690"/>
                    <a:gd name="connsiteX13" fmla="*/ 617704 w 873926"/>
                    <a:gd name="connsiteY13" fmla="*/ 198194 h 770690"/>
                    <a:gd name="connsiteX14" fmla="*/ 571984 w 873926"/>
                    <a:gd name="connsiteY14" fmla="*/ 240104 h 770690"/>
                    <a:gd name="connsiteX15" fmla="*/ 446254 w 873926"/>
                    <a:gd name="connsiteY15" fmla="*/ 295349 h 770690"/>
                    <a:gd name="connsiteX16" fmla="*/ 421489 w 873926"/>
                    <a:gd name="connsiteY16" fmla="*/ 373454 h 770690"/>
                    <a:gd name="connsiteX17" fmla="*/ 818681 w 873926"/>
                    <a:gd name="connsiteY17" fmla="*/ 688731 h 770690"/>
                    <a:gd name="connsiteX18" fmla="*/ 873926 w 873926"/>
                    <a:gd name="connsiteY18" fmla="*/ 711591 h 770690"/>
                    <a:gd name="connsiteX19" fmla="*/ 635801 w 873926"/>
                    <a:gd name="connsiteY19" fmla="*/ 770646 h 770690"/>
                    <a:gd name="connsiteX20" fmla="*/ 562459 w 873926"/>
                    <a:gd name="connsiteY20" fmla="*/ 734451 h 770690"/>
                    <a:gd name="connsiteX21" fmla="*/ 351004 w 873926"/>
                    <a:gd name="connsiteY21" fmla="*/ 445844 h 770690"/>
                    <a:gd name="connsiteX22" fmla="*/ 307189 w 873926"/>
                    <a:gd name="connsiteY22" fmla="*/ 531569 h 770690"/>
                    <a:gd name="connsiteX23" fmla="*/ 263374 w 873926"/>
                    <a:gd name="connsiteY23" fmla="*/ 604911 h 770690"/>
                    <a:gd name="connsiteX24" fmla="*/ 15724 w 873926"/>
                    <a:gd name="connsiteY24" fmla="*/ 647774 h 770690"/>
                    <a:gd name="connsiteX25" fmla="*/ 18581 w 873926"/>
                    <a:gd name="connsiteY25" fmla="*/ 612531 h 770690"/>
                    <a:gd name="connsiteX26" fmla="*/ 77636 w 873926"/>
                    <a:gd name="connsiteY26" fmla="*/ 596339 h 770690"/>
                    <a:gd name="connsiteX27" fmla="*/ 249086 w 873926"/>
                    <a:gd name="connsiteY27" fmla="*/ 379169 h 7706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873926" h="770690">
                      <a:moveTo>
                        <a:pt x="249086" y="379169"/>
                      </a:moveTo>
                      <a:cubicBezTo>
                        <a:pt x="217654" y="384884"/>
                        <a:pt x="191936" y="389646"/>
                        <a:pt x="165266" y="394409"/>
                      </a:cubicBezTo>
                      <a:cubicBezTo>
                        <a:pt x="84304" y="406791"/>
                        <a:pt x="24296" y="356309"/>
                        <a:pt x="22391" y="275346"/>
                      </a:cubicBezTo>
                      <a:cubicBezTo>
                        <a:pt x="21439" y="239151"/>
                        <a:pt x="38584" y="217244"/>
                        <a:pt x="76684" y="219149"/>
                      </a:cubicBezTo>
                      <a:cubicBezTo>
                        <a:pt x="125261" y="222006"/>
                        <a:pt x="174791" y="227721"/>
                        <a:pt x="223369" y="232484"/>
                      </a:cubicBezTo>
                      <a:cubicBezTo>
                        <a:pt x="253849" y="235341"/>
                        <a:pt x="271946" y="229626"/>
                        <a:pt x="264326" y="191526"/>
                      </a:cubicBezTo>
                      <a:cubicBezTo>
                        <a:pt x="257659" y="161046"/>
                        <a:pt x="255754" y="128661"/>
                        <a:pt x="254801" y="97229"/>
                      </a:cubicBezTo>
                      <a:cubicBezTo>
                        <a:pt x="252896" y="32459"/>
                        <a:pt x="279566" y="2931"/>
                        <a:pt x="337669" y="74"/>
                      </a:cubicBezTo>
                      <a:cubicBezTo>
                        <a:pt x="383389" y="-1831"/>
                        <a:pt x="418631" y="33411"/>
                        <a:pt x="425299" y="88656"/>
                      </a:cubicBezTo>
                      <a:cubicBezTo>
                        <a:pt x="426251" y="95324"/>
                        <a:pt x="425299" y="101039"/>
                        <a:pt x="426251" y="107706"/>
                      </a:cubicBezTo>
                      <a:cubicBezTo>
                        <a:pt x="428156" y="126756"/>
                        <a:pt x="406249" y="150569"/>
                        <a:pt x="429109" y="164856"/>
                      </a:cubicBezTo>
                      <a:cubicBezTo>
                        <a:pt x="454826" y="180096"/>
                        <a:pt x="481496" y="165809"/>
                        <a:pt x="504356" y="151521"/>
                      </a:cubicBezTo>
                      <a:cubicBezTo>
                        <a:pt x="529121" y="136281"/>
                        <a:pt x="551981" y="127709"/>
                        <a:pt x="577699" y="148664"/>
                      </a:cubicBezTo>
                      <a:cubicBezTo>
                        <a:pt x="594844" y="161999"/>
                        <a:pt x="617704" y="173429"/>
                        <a:pt x="617704" y="198194"/>
                      </a:cubicBezTo>
                      <a:cubicBezTo>
                        <a:pt x="617704" y="225816"/>
                        <a:pt x="591986" y="231531"/>
                        <a:pt x="571984" y="240104"/>
                      </a:cubicBezTo>
                      <a:cubicBezTo>
                        <a:pt x="530074" y="259154"/>
                        <a:pt x="488164" y="278204"/>
                        <a:pt x="446254" y="295349"/>
                      </a:cubicBezTo>
                      <a:cubicBezTo>
                        <a:pt x="405296" y="311541"/>
                        <a:pt x="397676" y="337259"/>
                        <a:pt x="421489" y="373454"/>
                      </a:cubicBezTo>
                      <a:cubicBezTo>
                        <a:pt x="517691" y="523949"/>
                        <a:pt x="631039" y="652536"/>
                        <a:pt x="818681" y="688731"/>
                      </a:cubicBezTo>
                      <a:cubicBezTo>
                        <a:pt x="836779" y="692541"/>
                        <a:pt x="856781" y="695399"/>
                        <a:pt x="873926" y="711591"/>
                      </a:cubicBezTo>
                      <a:cubicBezTo>
                        <a:pt x="796774" y="743976"/>
                        <a:pt x="719621" y="769694"/>
                        <a:pt x="635801" y="770646"/>
                      </a:cubicBezTo>
                      <a:cubicBezTo>
                        <a:pt x="605321" y="771599"/>
                        <a:pt x="582461" y="757311"/>
                        <a:pt x="562459" y="734451"/>
                      </a:cubicBezTo>
                      <a:cubicBezTo>
                        <a:pt x="485306" y="645869"/>
                        <a:pt x="416726" y="550619"/>
                        <a:pt x="351004" y="445844"/>
                      </a:cubicBezTo>
                      <a:cubicBezTo>
                        <a:pt x="335764" y="476324"/>
                        <a:pt x="322429" y="503946"/>
                        <a:pt x="307189" y="531569"/>
                      </a:cubicBezTo>
                      <a:cubicBezTo>
                        <a:pt x="293854" y="556334"/>
                        <a:pt x="279566" y="581099"/>
                        <a:pt x="263374" y="604911"/>
                      </a:cubicBezTo>
                      <a:cubicBezTo>
                        <a:pt x="195746" y="707781"/>
                        <a:pt x="115736" y="721116"/>
                        <a:pt x="15724" y="647774"/>
                      </a:cubicBezTo>
                      <a:cubicBezTo>
                        <a:pt x="-5231" y="632534"/>
                        <a:pt x="-6184" y="621104"/>
                        <a:pt x="18581" y="612531"/>
                      </a:cubicBezTo>
                      <a:cubicBezTo>
                        <a:pt x="37631" y="605864"/>
                        <a:pt x="58586" y="603006"/>
                        <a:pt x="77636" y="596339"/>
                      </a:cubicBezTo>
                      <a:cubicBezTo>
                        <a:pt x="177649" y="560144"/>
                        <a:pt x="236704" y="490611"/>
                        <a:pt x="249086" y="379169"/>
                      </a:cubicBezTo>
                      <a:close/>
                    </a:path>
                  </a:pathLst>
                </a:custGeom>
                <a:solidFill>
                  <a:srgbClr val="02482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0" name="任意多边形: 形状 199"/>
                <p:cNvSpPr/>
                <p:nvPr/>
              </p:nvSpPr>
              <p:spPr>
                <a:xfrm>
                  <a:off x="8148215" y="1644893"/>
                  <a:ext cx="467101" cy="527151"/>
                </a:xfrm>
                <a:custGeom>
                  <a:avLst/>
                  <a:gdLst>
                    <a:gd name="connsiteX0" fmla="*/ 636866 w 637848"/>
                    <a:gd name="connsiteY0" fmla="*/ 388689 h 657660"/>
                    <a:gd name="connsiteX1" fmla="*/ 561618 w 637848"/>
                    <a:gd name="connsiteY1" fmla="*/ 626814 h 657660"/>
                    <a:gd name="connsiteX2" fmla="*/ 532091 w 637848"/>
                    <a:gd name="connsiteY2" fmla="*/ 647769 h 657660"/>
                    <a:gd name="connsiteX3" fmla="*/ 513041 w 637848"/>
                    <a:gd name="connsiteY3" fmla="*/ 613479 h 657660"/>
                    <a:gd name="connsiteX4" fmla="*/ 504468 w 637848"/>
                    <a:gd name="connsiteY4" fmla="*/ 576331 h 657660"/>
                    <a:gd name="connsiteX5" fmla="*/ 484466 w 637848"/>
                    <a:gd name="connsiteY5" fmla="*/ 504894 h 657660"/>
                    <a:gd name="connsiteX6" fmla="*/ 378738 w 637848"/>
                    <a:gd name="connsiteY6" fmla="*/ 536326 h 657660"/>
                    <a:gd name="connsiteX7" fmla="*/ 284441 w 637848"/>
                    <a:gd name="connsiteY7" fmla="*/ 570616 h 657660"/>
                    <a:gd name="connsiteX8" fmla="*/ 139661 w 637848"/>
                    <a:gd name="connsiteY8" fmla="*/ 626814 h 657660"/>
                    <a:gd name="connsiteX9" fmla="*/ 46316 w 637848"/>
                    <a:gd name="connsiteY9" fmla="*/ 645864 h 657660"/>
                    <a:gd name="connsiteX10" fmla="*/ 3453 w 637848"/>
                    <a:gd name="connsiteY10" fmla="*/ 532516 h 657660"/>
                    <a:gd name="connsiteX11" fmla="*/ 29171 w 637848"/>
                    <a:gd name="connsiteY11" fmla="*/ 347731 h 657660"/>
                    <a:gd name="connsiteX12" fmla="*/ 43458 w 637848"/>
                    <a:gd name="connsiteY12" fmla="*/ 302011 h 657660"/>
                    <a:gd name="connsiteX13" fmla="*/ 91083 w 637848"/>
                    <a:gd name="connsiteY13" fmla="*/ 314394 h 657660"/>
                    <a:gd name="connsiteX14" fmla="*/ 134898 w 637848"/>
                    <a:gd name="connsiteY14" fmla="*/ 430599 h 657660"/>
                    <a:gd name="connsiteX15" fmla="*/ 166331 w 637848"/>
                    <a:gd name="connsiteY15" fmla="*/ 485844 h 657660"/>
                    <a:gd name="connsiteX16" fmla="*/ 256818 w 637848"/>
                    <a:gd name="connsiteY16" fmla="*/ 421074 h 657660"/>
                    <a:gd name="connsiteX17" fmla="*/ 237768 w 637848"/>
                    <a:gd name="connsiteY17" fmla="*/ 69601 h 657660"/>
                    <a:gd name="connsiteX18" fmla="*/ 281583 w 637848"/>
                    <a:gd name="connsiteY18" fmla="*/ 69 h 657660"/>
                    <a:gd name="connsiteX19" fmla="*/ 379691 w 637848"/>
                    <a:gd name="connsiteY19" fmla="*/ 89604 h 657660"/>
                    <a:gd name="connsiteX20" fmla="*/ 369213 w 637848"/>
                    <a:gd name="connsiteY20" fmla="*/ 383926 h 657660"/>
                    <a:gd name="connsiteX21" fmla="*/ 422553 w 637848"/>
                    <a:gd name="connsiteY21" fmla="*/ 420121 h 657660"/>
                    <a:gd name="connsiteX22" fmla="*/ 512088 w 637848"/>
                    <a:gd name="connsiteY22" fmla="*/ 337254 h 657660"/>
                    <a:gd name="connsiteX23" fmla="*/ 560666 w 637848"/>
                    <a:gd name="connsiteY23" fmla="*/ 266769 h 657660"/>
                    <a:gd name="connsiteX24" fmla="*/ 637818 w 637848"/>
                    <a:gd name="connsiteY24" fmla="*/ 358209 h 657660"/>
                    <a:gd name="connsiteX25" fmla="*/ 636866 w 637848"/>
                    <a:gd name="connsiteY25" fmla="*/ 388689 h 657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637848" h="657660">
                      <a:moveTo>
                        <a:pt x="636866" y="388689"/>
                      </a:moveTo>
                      <a:cubicBezTo>
                        <a:pt x="634961" y="475366"/>
                        <a:pt x="628293" y="560139"/>
                        <a:pt x="561618" y="626814"/>
                      </a:cubicBezTo>
                      <a:cubicBezTo>
                        <a:pt x="553046" y="635386"/>
                        <a:pt x="545426" y="650626"/>
                        <a:pt x="532091" y="647769"/>
                      </a:cubicBezTo>
                      <a:cubicBezTo>
                        <a:pt x="514946" y="644911"/>
                        <a:pt x="516851" y="626814"/>
                        <a:pt x="513041" y="613479"/>
                      </a:cubicBezTo>
                      <a:cubicBezTo>
                        <a:pt x="509231" y="601096"/>
                        <a:pt x="507326" y="588714"/>
                        <a:pt x="504468" y="576331"/>
                      </a:cubicBezTo>
                      <a:cubicBezTo>
                        <a:pt x="499706" y="550614"/>
                        <a:pt x="501611" y="506799"/>
                        <a:pt x="484466" y="504894"/>
                      </a:cubicBezTo>
                      <a:cubicBezTo>
                        <a:pt x="449223" y="501084"/>
                        <a:pt x="405408" y="510609"/>
                        <a:pt x="378738" y="536326"/>
                      </a:cubicBezTo>
                      <a:cubicBezTo>
                        <a:pt x="350163" y="563949"/>
                        <a:pt x="319683" y="569664"/>
                        <a:pt x="284441" y="570616"/>
                      </a:cubicBezTo>
                      <a:cubicBezTo>
                        <a:pt x="229196" y="572521"/>
                        <a:pt x="178713" y="581094"/>
                        <a:pt x="139661" y="626814"/>
                      </a:cubicBezTo>
                      <a:cubicBezTo>
                        <a:pt x="115848" y="654436"/>
                        <a:pt x="83463" y="669676"/>
                        <a:pt x="46316" y="645864"/>
                      </a:cubicBezTo>
                      <a:cubicBezTo>
                        <a:pt x="17741" y="626814"/>
                        <a:pt x="-9882" y="559186"/>
                        <a:pt x="3453" y="532516"/>
                      </a:cubicBezTo>
                      <a:cubicBezTo>
                        <a:pt x="32981" y="473461"/>
                        <a:pt x="40601" y="412501"/>
                        <a:pt x="29171" y="347731"/>
                      </a:cubicBezTo>
                      <a:cubicBezTo>
                        <a:pt x="26313" y="331539"/>
                        <a:pt x="22503" y="310584"/>
                        <a:pt x="43458" y="302011"/>
                      </a:cubicBezTo>
                      <a:cubicBezTo>
                        <a:pt x="61556" y="294391"/>
                        <a:pt x="77748" y="302964"/>
                        <a:pt x="91083" y="314394"/>
                      </a:cubicBezTo>
                      <a:cubicBezTo>
                        <a:pt x="127278" y="344874"/>
                        <a:pt x="128231" y="388689"/>
                        <a:pt x="134898" y="430599"/>
                      </a:cubicBezTo>
                      <a:cubicBezTo>
                        <a:pt x="137756" y="450601"/>
                        <a:pt x="113943" y="489654"/>
                        <a:pt x="166331" y="485844"/>
                      </a:cubicBezTo>
                      <a:cubicBezTo>
                        <a:pt x="254913" y="479176"/>
                        <a:pt x="259676" y="477271"/>
                        <a:pt x="256818" y="421074"/>
                      </a:cubicBezTo>
                      <a:cubicBezTo>
                        <a:pt x="251103" y="303916"/>
                        <a:pt x="243483" y="186759"/>
                        <a:pt x="237768" y="69601"/>
                      </a:cubicBezTo>
                      <a:cubicBezTo>
                        <a:pt x="235863" y="36264"/>
                        <a:pt x="229196" y="-1836"/>
                        <a:pt x="281583" y="69"/>
                      </a:cubicBezTo>
                      <a:cubicBezTo>
                        <a:pt x="343496" y="1974"/>
                        <a:pt x="385406" y="41979"/>
                        <a:pt x="379691" y="89604"/>
                      </a:cubicBezTo>
                      <a:cubicBezTo>
                        <a:pt x="367308" y="187711"/>
                        <a:pt x="361593" y="284866"/>
                        <a:pt x="369213" y="383926"/>
                      </a:cubicBezTo>
                      <a:cubicBezTo>
                        <a:pt x="372071" y="423931"/>
                        <a:pt x="385406" y="428694"/>
                        <a:pt x="422553" y="420121"/>
                      </a:cubicBezTo>
                      <a:cubicBezTo>
                        <a:pt x="472083" y="409644"/>
                        <a:pt x="506373" y="395356"/>
                        <a:pt x="512088" y="337254"/>
                      </a:cubicBezTo>
                      <a:cubicBezTo>
                        <a:pt x="514946" y="309631"/>
                        <a:pt x="510183" y="262959"/>
                        <a:pt x="560666" y="266769"/>
                      </a:cubicBezTo>
                      <a:cubicBezTo>
                        <a:pt x="616863" y="270579"/>
                        <a:pt x="638771" y="298201"/>
                        <a:pt x="637818" y="358209"/>
                      </a:cubicBezTo>
                      <a:cubicBezTo>
                        <a:pt x="636866" y="369639"/>
                        <a:pt x="636866" y="379164"/>
                        <a:pt x="636866" y="388689"/>
                      </a:cubicBezTo>
                      <a:close/>
                    </a:path>
                  </a:pathLst>
                </a:custGeom>
                <a:solidFill>
                  <a:srgbClr val="034824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dirty="0"/>
                </a:p>
              </p:txBody>
            </p:sp>
            <p:sp>
              <p:nvSpPr>
                <p:cNvPr id="201" name="任意多边形: 形状 200"/>
                <p:cNvSpPr/>
                <p:nvPr/>
              </p:nvSpPr>
              <p:spPr>
                <a:xfrm>
                  <a:off x="10204215" y="1662816"/>
                  <a:ext cx="75214" cy="102726"/>
                </a:xfrm>
                <a:custGeom>
                  <a:avLst/>
                  <a:gdLst>
                    <a:gd name="connsiteX0" fmla="*/ 53179 w 102709"/>
                    <a:gd name="connsiteY0" fmla="*/ 33338 h 128157"/>
                    <a:gd name="connsiteX1" fmla="*/ 52227 w 102709"/>
                    <a:gd name="connsiteY1" fmla="*/ 83820 h 128157"/>
                    <a:gd name="connsiteX2" fmla="*/ 102710 w 102709"/>
                    <a:gd name="connsiteY2" fmla="*/ 123825 h 128157"/>
                    <a:gd name="connsiteX3" fmla="*/ 25557 w 102709"/>
                    <a:gd name="connsiteY3" fmla="*/ 109538 h 128157"/>
                    <a:gd name="connsiteX4" fmla="*/ 40797 w 102709"/>
                    <a:gd name="connsiteY4" fmla="*/ 0 h 128157"/>
                    <a:gd name="connsiteX5" fmla="*/ 53179 w 102709"/>
                    <a:gd name="connsiteY5" fmla="*/ 33338 h 1281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02709" h="128157">
                      <a:moveTo>
                        <a:pt x="53179" y="33338"/>
                      </a:moveTo>
                      <a:cubicBezTo>
                        <a:pt x="19842" y="49530"/>
                        <a:pt x="13174" y="64770"/>
                        <a:pt x="52227" y="83820"/>
                      </a:cubicBezTo>
                      <a:cubicBezTo>
                        <a:pt x="69372" y="92392"/>
                        <a:pt x="89374" y="100013"/>
                        <a:pt x="102710" y="123825"/>
                      </a:cubicBezTo>
                      <a:cubicBezTo>
                        <a:pt x="73182" y="126683"/>
                        <a:pt x="43654" y="137160"/>
                        <a:pt x="25557" y="109538"/>
                      </a:cubicBezTo>
                      <a:cubicBezTo>
                        <a:pt x="-11590" y="53340"/>
                        <a:pt x="-9686" y="49530"/>
                        <a:pt x="40797" y="0"/>
                      </a:cubicBezTo>
                      <a:cubicBezTo>
                        <a:pt x="46512" y="11430"/>
                        <a:pt x="28414" y="30480"/>
                        <a:pt x="53179" y="33338"/>
                      </a:cubicBezTo>
                      <a:close/>
                    </a:path>
                  </a:pathLst>
                </a:custGeom>
                <a:solidFill>
                  <a:srgbClr val="D6EFE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2" name="任意多边形: 形状 201"/>
                <p:cNvSpPr/>
                <p:nvPr/>
              </p:nvSpPr>
              <p:spPr>
                <a:xfrm>
                  <a:off x="10077173" y="1797617"/>
                  <a:ext cx="45720" cy="64557"/>
                </a:xfrm>
                <a:custGeom>
                  <a:avLst/>
                  <a:gdLst>
                    <a:gd name="connsiteX0" fmla="*/ 178 w 62225"/>
                    <a:gd name="connsiteY0" fmla="*/ 53374 h 80539"/>
                    <a:gd name="connsiteX1" fmla="*/ 42088 w 62225"/>
                    <a:gd name="connsiteY1" fmla="*/ 34 h 80539"/>
                    <a:gd name="connsiteX2" fmla="*/ 62090 w 62225"/>
                    <a:gd name="connsiteY2" fmla="*/ 32419 h 80539"/>
                    <a:gd name="connsiteX3" fmla="*/ 10655 w 62225"/>
                    <a:gd name="connsiteY3" fmla="*/ 80044 h 80539"/>
                    <a:gd name="connsiteX4" fmla="*/ 178 w 62225"/>
                    <a:gd name="connsiteY4" fmla="*/ 53374 h 805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225" h="80539">
                      <a:moveTo>
                        <a:pt x="178" y="53374"/>
                      </a:moveTo>
                      <a:cubicBezTo>
                        <a:pt x="8750" y="32419"/>
                        <a:pt x="7798" y="987"/>
                        <a:pt x="42088" y="34"/>
                      </a:cubicBezTo>
                      <a:cubicBezTo>
                        <a:pt x="59233" y="-918"/>
                        <a:pt x="63042" y="18132"/>
                        <a:pt x="62090" y="32419"/>
                      </a:cubicBezTo>
                      <a:cubicBezTo>
                        <a:pt x="59233" y="62899"/>
                        <a:pt x="35420" y="75282"/>
                        <a:pt x="10655" y="80044"/>
                      </a:cubicBezTo>
                      <a:cubicBezTo>
                        <a:pt x="-5537" y="83854"/>
                        <a:pt x="2083" y="64804"/>
                        <a:pt x="178" y="53374"/>
                      </a:cubicBezTo>
                      <a:close/>
                    </a:path>
                  </a:pathLst>
                </a:custGeom>
                <a:solidFill>
                  <a:srgbClr val="DFF0E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3" name="任意多边形: 形状 202"/>
                <p:cNvSpPr/>
                <p:nvPr/>
              </p:nvSpPr>
              <p:spPr>
                <a:xfrm>
                  <a:off x="10087185" y="1669014"/>
                  <a:ext cx="45720" cy="82059"/>
                </a:xfrm>
                <a:custGeom>
                  <a:avLst/>
                  <a:gdLst>
                    <a:gd name="connsiteX0" fmla="*/ 238 w 47319"/>
                    <a:gd name="connsiteY0" fmla="*/ 102374 h 102374"/>
                    <a:gd name="connsiteX1" fmla="*/ 1191 w 47319"/>
                    <a:gd name="connsiteY1" fmla="*/ 29032 h 102374"/>
                    <a:gd name="connsiteX2" fmla="*/ 18336 w 47319"/>
                    <a:gd name="connsiteY2" fmla="*/ 457 h 102374"/>
                    <a:gd name="connsiteX3" fmla="*/ 46911 w 47319"/>
                    <a:gd name="connsiteY3" fmla="*/ 37604 h 102374"/>
                    <a:gd name="connsiteX4" fmla="*/ 238 w 47319"/>
                    <a:gd name="connsiteY4" fmla="*/ 102374 h 1023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7319" h="102374">
                      <a:moveTo>
                        <a:pt x="238" y="102374"/>
                      </a:moveTo>
                      <a:cubicBezTo>
                        <a:pt x="238" y="74752"/>
                        <a:pt x="-714" y="51892"/>
                        <a:pt x="1191" y="29032"/>
                      </a:cubicBezTo>
                      <a:cubicBezTo>
                        <a:pt x="2143" y="17602"/>
                        <a:pt x="-7382" y="-3353"/>
                        <a:pt x="18336" y="457"/>
                      </a:cubicBezTo>
                      <a:cubicBezTo>
                        <a:pt x="37386" y="3314"/>
                        <a:pt x="49768" y="17602"/>
                        <a:pt x="46911" y="37604"/>
                      </a:cubicBezTo>
                      <a:cubicBezTo>
                        <a:pt x="42148" y="63322"/>
                        <a:pt x="27861" y="85229"/>
                        <a:pt x="238" y="102374"/>
                      </a:cubicBezTo>
                      <a:close/>
                    </a:path>
                  </a:pathLst>
                </a:custGeom>
                <a:solidFill>
                  <a:srgbClr val="D7EFE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4" name="任意多边形: 形状 203"/>
                <p:cNvSpPr/>
                <p:nvPr/>
              </p:nvSpPr>
              <p:spPr>
                <a:xfrm>
                  <a:off x="10206549" y="1786161"/>
                  <a:ext cx="45720" cy="24137"/>
                </a:xfrm>
                <a:custGeom>
                  <a:avLst/>
                  <a:gdLst>
                    <a:gd name="connsiteX0" fmla="*/ 59388 w 59387"/>
                    <a:gd name="connsiteY0" fmla="*/ 11853 h 30114"/>
                    <a:gd name="connsiteX1" fmla="*/ 34623 w 59387"/>
                    <a:gd name="connsiteY1" fmla="*/ 29951 h 30114"/>
                    <a:gd name="connsiteX2" fmla="*/ 333 w 59387"/>
                    <a:gd name="connsiteY2" fmla="*/ 13758 h 30114"/>
                    <a:gd name="connsiteX3" fmla="*/ 24145 w 59387"/>
                    <a:gd name="connsiteY3" fmla="*/ 423 h 30114"/>
                    <a:gd name="connsiteX4" fmla="*/ 59388 w 59387"/>
                    <a:gd name="connsiteY4" fmla="*/ 11853 h 30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9387" h="30114">
                      <a:moveTo>
                        <a:pt x="59388" y="11853"/>
                      </a:moveTo>
                      <a:cubicBezTo>
                        <a:pt x="56530" y="28046"/>
                        <a:pt x="45100" y="30903"/>
                        <a:pt x="34623" y="29951"/>
                      </a:cubicBezTo>
                      <a:cubicBezTo>
                        <a:pt x="21288" y="29951"/>
                        <a:pt x="3190" y="31856"/>
                        <a:pt x="333" y="13758"/>
                      </a:cubicBezTo>
                      <a:cubicBezTo>
                        <a:pt x="-2525" y="-3387"/>
                        <a:pt x="13668" y="423"/>
                        <a:pt x="24145" y="423"/>
                      </a:cubicBezTo>
                      <a:cubicBezTo>
                        <a:pt x="36528" y="423"/>
                        <a:pt x="51768" y="-3387"/>
                        <a:pt x="59388" y="11853"/>
                      </a:cubicBezTo>
                      <a:close/>
                    </a:path>
                  </a:pathLst>
                </a:custGeom>
                <a:solidFill>
                  <a:srgbClr val="D0F8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5" name="任意多边形: 形状 204"/>
                <p:cNvSpPr/>
                <p:nvPr/>
              </p:nvSpPr>
              <p:spPr>
                <a:xfrm>
                  <a:off x="7424068" y="1796560"/>
                  <a:ext cx="77885" cy="91357"/>
                </a:xfrm>
                <a:custGeom>
                  <a:avLst/>
                  <a:gdLst>
                    <a:gd name="connsiteX0" fmla="*/ 102125 w 106357"/>
                    <a:gd name="connsiteY0" fmla="*/ 0 h 113976"/>
                    <a:gd name="connsiteX1" fmla="*/ 105935 w 106357"/>
                    <a:gd name="connsiteY1" fmla="*/ 60008 h 113976"/>
                    <a:gd name="connsiteX2" fmla="*/ 79265 w 106357"/>
                    <a:gd name="connsiteY2" fmla="*/ 107633 h 113976"/>
                    <a:gd name="connsiteX3" fmla="*/ 25925 w 106357"/>
                    <a:gd name="connsiteY3" fmla="*/ 103822 h 113976"/>
                    <a:gd name="connsiteX4" fmla="*/ 207 w 106357"/>
                    <a:gd name="connsiteY4" fmla="*/ 40005 h 113976"/>
                    <a:gd name="connsiteX5" fmla="*/ 21162 w 106357"/>
                    <a:gd name="connsiteY5" fmla="*/ 24765 h 113976"/>
                    <a:gd name="connsiteX6" fmla="*/ 102125 w 106357"/>
                    <a:gd name="connsiteY6" fmla="*/ 0 h 113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6357" h="113976">
                      <a:moveTo>
                        <a:pt x="102125" y="0"/>
                      </a:moveTo>
                      <a:cubicBezTo>
                        <a:pt x="103077" y="22860"/>
                        <a:pt x="104030" y="40958"/>
                        <a:pt x="105935" y="60008"/>
                      </a:cubicBezTo>
                      <a:cubicBezTo>
                        <a:pt x="107840" y="81915"/>
                        <a:pt x="104030" y="100013"/>
                        <a:pt x="79265" y="107633"/>
                      </a:cubicBezTo>
                      <a:cubicBezTo>
                        <a:pt x="61167" y="113347"/>
                        <a:pt x="41165" y="120015"/>
                        <a:pt x="25925" y="103822"/>
                      </a:cubicBezTo>
                      <a:cubicBezTo>
                        <a:pt x="9732" y="86677"/>
                        <a:pt x="-1698" y="65722"/>
                        <a:pt x="207" y="40005"/>
                      </a:cubicBezTo>
                      <a:cubicBezTo>
                        <a:pt x="1160" y="28575"/>
                        <a:pt x="11637" y="27622"/>
                        <a:pt x="21162" y="24765"/>
                      </a:cubicBezTo>
                      <a:cubicBezTo>
                        <a:pt x="45927" y="18097"/>
                        <a:pt x="70692" y="9525"/>
                        <a:pt x="102125" y="0"/>
                      </a:cubicBezTo>
                      <a:close/>
                    </a:path>
                  </a:pathLst>
                </a:custGeom>
                <a:solidFill>
                  <a:srgbClr val="EBF3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6" name="任意多边形: 形状 205"/>
                <p:cNvSpPr/>
                <p:nvPr/>
              </p:nvSpPr>
              <p:spPr>
                <a:xfrm>
                  <a:off x="7621255" y="1718173"/>
                  <a:ext cx="69099" cy="101127"/>
                </a:xfrm>
                <a:custGeom>
                  <a:avLst/>
                  <a:gdLst>
                    <a:gd name="connsiteX0" fmla="*/ 393 w 94356"/>
                    <a:gd name="connsiteY0" fmla="*/ 71123 h 126165"/>
                    <a:gd name="connsiteX1" fmla="*/ 15633 w 94356"/>
                    <a:gd name="connsiteY1" fmla="*/ 13973 h 126165"/>
                    <a:gd name="connsiteX2" fmla="*/ 86118 w 94356"/>
                    <a:gd name="connsiteY2" fmla="*/ 9211 h 126165"/>
                    <a:gd name="connsiteX3" fmla="*/ 79450 w 94356"/>
                    <a:gd name="connsiteY3" fmla="*/ 65408 h 126165"/>
                    <a:gd name="connsiteX4" fmla="*/ 65163 w 94356"/>
                    <a:gd name="connsiteY4" fmla="*/ 90173 h 126165"/>
                    <a:gd name="connsiteX5" fmla="*/ 14680 w 94356"/>
                    <a:gd name="connsiteY5" fmla="*/ 124463 h 126165"/>
                    <a:gd name="connsiteX6" fmla="*/ 393 w 94356"/>
                    <a:gd name="connsiteY6" fmla="*/ 71123 h 126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4356" h="126165">
                      <a:moveTo>
                        <a:pt x="393" y="71123"/>
                      </a:moveTo>
                      <a:cubicBezTo>
                        <a:pt x="4203" y="50168"/>
                        <a:pt x="-7227" y="24451"/>
                        <a:pt x="15633" y="13973"/>
                      </a:cubicBezTo>
                      <a:cubicBezTo>
                        <a:pt x="37540" y="3495"/>
                        <a:pt x="65163" y="-8887"/>
                        <a:pt x="86118" y="9211"/>
                      </a:cubicBezTo>
                      <a:cubicBezTo>
                        <a:pt x="105168" y="26356"/>
                        <a:pt x="86118" y="46358"/>
                        <a:pt x="79450" y="65408"/>
                      </a:cubicBezTo>
                      <a:cubicBezTo>
                        <a:pt x="76593" y="73981"/>
                        <a:pt x="70878" y="82553"/>
                        <a:pt x="65163" y="90173"/>
                      </a:cubicBezTo>
                      <a:cubicBezTo>
                        <a:pt x="52780" y="107318"/>
                        <a:pt x="40398" y="133036"/>
                        <a:pt x="14680" y="124463"/>
                      </a:cubicBezTo>
                      <a:cubicBezTo>
                        <a:pt x="-11037" y="114938"/>
                        <a:pt x="6108" y="88268"/>
                        <a:pt x="393" y="71123"/>
                      </a:cubicBezTo>
                      <a:close/>
                    </a:path>
                  </a:pathLst>
                </a:custGeom>
                <a:solidFill>
                  <a:srgbClr val="E4F1E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96" name="文本框 195"/>
              <p:cNvSpPr txBox="1"/>
              <p:nvPr/>
            </p:nvSpPr>
            <p:spPr>
              <a:xfrm>
                <a:off x="7289664" y="2412838"/>
                <a:ext cx="3341349" cy="178189"/>
              </a:xfrm>
              <a:custGeom>
                <a:avLst/>
                <a:gdLst/>
                <a:ahLst/>
                <a:cxnLst/>
                <a:rect l="l" t="t" r="r" b="b"/>
                <a:pathLst>
                  <a:path w="3341349" h="178189">
                    <a:moveTo>
                      <a:pt x="1107393" y="102092"/>
                    </a:moveTo>
                    <a:lnTo>
                      <a:pt x="1180602" y="102092"/>
                    </a:lnTo>
                    <a:lnTo>
                      <a:pt x="1180602" y="128086"/>
                    </a:lnTo>
                    <a:lnTo>
                      <a:pt x="1107393" y="128086"/>
                    </a:lnTo>
                    <a:close/>
                    <a:moveTo>
                      <a:pt x="864143" y="57764"/>
                    </a:moveTo>
                    <a:lnTo>
                      <a:pt x="838023" y="116407"/>
                    </a:lnTo>
                    <a:lnTo>
                      <a:pt x="889508" y="116407"/>
                    </a:lnTo>
                    <a:close/>
                    <a:moveTo>
                      <a:pt x="2626751" y="13060"/>
                    </a:moveTo>
                    <a:lnTo>
                      <a:pt x="2626751" y="87651"/>
                    </a:lnTo>
                    <a:lnTo>
                      <a:pt x="2633909" y="87651"/>
                    </a:lnTo>
                    <a:cubicBezTo>
                      <a:pt x="2645545" y="87651"/>
                      <a:pt x="2654252" y="86583"/>
                      <a:pt x="2660028" y="84449"/>
                    </a:cubicBezTo>
                    <a:cubicBezTo>
                      <a:pt x="2665805" y="82314"/>
                      <a:pt x="2670346" y="78463"/>
                      <a:pt x="2673653" y="72896"/>
                    </a:cubicBezTo>
                    <a:cubicBezTo>
                      <a:pt x="2676960" y="67329"/>
                      <a:pt x="2678613" y="60066"/>
                      <a:pt x="2678613" y="51109"/>
                    </a:cubicBezTo>
                    <a:cubicBezTo>
                      <a:pt x="2678613" y="38133"/>
                      <a:pt x="2675578" y="28547"/>
                      <a:pt x="2669509" y="22352"/>
                    </a:cubicBezTo>
                    <a:cubicBezTo>
                      <a:pt x="2663440" y="16158"/>
                      <a:pt x="2653666" y="13060"/>
                      <a:pt x="2640188" y="13060"/>
                    </a:cubicBezTo>
                    <a:close/>
                    <a:moveTo>
                      <a:pt x="3160774" y="3893"/>
                    </a:moveTo>
                    <a:lnTo>
                      <a:pt x="3242397" y="3893"/>
                    </a:lnTo>
                    <a:lnTo>
                      <a:pt x="3242397" y="8539"/>
                    </a:lnTo>
                    <a:lnTo>
                      <a:pt x="3238756" y="8539"/>
                    </a:lnTo>
                    <a:cubicBezTo>
                      <a:pt x="3233817" y="8539"/>
                      <a:pt x="3230363" y="9251"/>
                      <a:pt x="3228396" y="10674"/>
                    </a:cubicBezTo>
                    <a:cubicBezTo>
                      <a:pt x="3226429" y="12097"/>
                      <a:pt x="3225445" y="13604"/>
                      <a:pt x="3225445" y="15195"/>
                    </a:cubicBezTo>
                    <a:cubicBezTo>
                      <a:pt x="3225445" y="18209"/>
                      <a:pt x="3228794" y="25785"/>
                      <a:pt x="3235491" y="37924"/>
                    </a:cubicBezTo>
                    <a:lnTo>
                      <a:pt x="3266256" y="94306"/>
                    </a:lnTo>
                    <a:lnTo>
                      <a:pt x="3296896" y="42947"/>
                    </a:lnTo>
                    <a:cubicBezTo>
                      <a:pt x="3304515" y="30389"/>
                      <a:pt x="3308324" y="22059"/>
                      <a:pt x="3308324" y="17957"/>
                    </a:cubicBezTo>
                    <a:cubicBezTo>
                      <a:pt x="3308324" y="15697"/>
                      <a:pt x="3307235" y="13813"/>
                      <a:pt x="3305059" y="12307"/>
                    </a:cubicBezTo>
                    <a:cubicBezTo>
                      <a:pt x="3302212" y="10214"/>
                      <a:pt x="3296980" y="8958"/>
                      <a:pt x="3289362" y="8539"/>
                    </a:cubicBezTo>
                    <a:lnTo>
                      <a:pt x="3289362" y="3893"/>
                    </a:lnTo>
                    <a:lnTo>
                      <a:pt x="3341349" y="3893"/>
                    </a:lnTo>
                    <a:lnTo>
                      <a:pt x="3341349" y="8539"/>
                    </a:lnTo>
                    <a:cubicBezTo>
                      <a:pt x="3335741" y="9293"/>
                      <a:pt x="3331429" y="10925"/>
                      <a:pt x="3328415" y="13437"/>
                    </a:cubicBezTo>
                    <a:cubicBezTo>
                      <a:pt x="3324230" y="16953"/>
                      <a:pt x="3317616" y="26538"/>
                      <a:pt x="3308575" y="42193"/>
                    </a:cubicBezTo>
                    <a:lnTo>
                      <a:pt x="3271656" y="103850"/>
                    </a:lnTo>
                    <a:lnTo>
                      <a:pt x="3271656" y="145038"/>
                    </a:lnTo>
                    <a:cubicBezTo>
                      <a:pt x="3271656" y="153828"/>
                      <a:pt x="3272116" y="159291"/>
                      <a:pt x="3273037" y="161425"/>
                    </a:cubicBezTo>
                    <a:cubicBezTo>
                      <a:pt x="3273958" y="163560"/>
                      <a:pt x="3275779" y="165444"/>
                      <a:pt x="3278500" y="167076"/>
                    </a:cubicBezTo>
                    <a:cubicBezTo>
                      <a:pt x="3281221" y="168709"/>
                      <a:pt x="3284841" y="169525"/>
                      <a:pt x="3289362" y="169525"/>
                    </a:cubicBezTo>
                    <a:lnTo>
                      <a:pt x="3298906" y="169525"/>
                    </a:lnTo>
                    <a:lnTo>
                      <a:pt x="3298906" y="174171"/>
                    </a:lnTo>
                    <a:lnTo>
                      <a:pt x="3203344" y="174171"/>
                    </a:lnTo>
                    <a:lnTo>
                      <a:pt x="3203344" y="169525"/>
                    </a:lnTo>
                    <a:lnTo>
                      <a:pt x="3212260" y="169525"/>
                    </a:lnTo>
                    <a:cubicBezTo>
                      <a:pt x="3217283" y="169525"/>
                      <a:pt x="3221259" y="168646"/>
                      <a:pt x="3224189" y="166888"/>
                    </a:cubicBezTo>
                    <a:cubicBezTo>
                      <a:pt x="3226366" y="165716"/>
                      <a:pt x="3228082" y="163707"/>
                      <a:pt x="3229338" y="160860"/>
                    </a:cubicBezTo>
                    <a:cubicBezTo>
                      <a:pt x="3230259" y="158851"/>
                      <a:pt x="3230719" y="153577"/>
                      <a:pt x="3230719" y="145038"/>
                    </a:cubicBezTo>
                    <a:lnTo>
                      <a:pt x="3230719" y="110882"/>
                    </a:lnTo>
                    <a:lnTo>
                      <a:pt x="3190661" y="37924"/>
                    </a:lnTo>
                    <a:cubicBezTo>
                      <a:pt x="3182708" y="23525"/>
                      <a:pt x="3177099" y="15048"/>
                      <a:pt x="3173834" y="12495"/>
                    </a:cubicBezTo>
                    <a:cubicBezTo>
                      <a:pt x="3170569" y="9942"/>
                      <a:pt x="3166216" y="8623"/>
                      <a:pt x="3160774" y="8539"/>
                    </a:cubicBezTo>
                    <a:close/>
                    <a:moveTo>
                      <a:pt x="2996357" y="3893"/>
                    </a:moveTo>
                    <a:lnTo>
                      <a:pt x="3149305" y="3893"/>
                    </a:lnTo>
                    <a:lnTo>
                      <a:pt x="3149305" y="49979"/>
                    </a:lnTo>
                    <a:lnTo>
                      <a:pt x="3144785" y="49979"/>
                    </a:lnTo>
                    <a:cubicBezTo>
                      <a:pt x="3142106" y="39347"/>
                      <a:pt x="3139134" y="31708"/>
                      <a:pt x="3135869" y="27062"/>
                    </a:cubicBezTo>
                    <a:cubicBezTo>
                      <a:pt x="3132604" y="22415"/>
                      <a:pt x="3128125" y="18711"/>
                      <a:pt x="3122433" y="15948"/>
                    </a:cubicBezTo>
                    <a:cubicBezTo>
                      <a:pt x="3119251" y="14441"/>
                      <a:pt x="3113684" y="13688"/>
                      <a:pt x="3105731" y="13688"/>
                    </a:cubicBezTo>
                    <a:lnTo>
                      <a:pt x="3093048" y="13688"/>
                    </a:lnTo>
                    <a:lnTo>
                      <a:pt x="3093048" y="145038"/>
                    </a:lnTo>
                    <a:cubicBezTo>
                      <a:pt x="3093048" y="153744"/>
                      <a:pt x="3093530" y="159186"/>
                      <a:pt x="3094492" y="161363"/>
                    </a:cubicBezTo>
                    <a:cubicBezTo>
                      <a:pt x="3095455" y="163539"/>
                      <a:pt x="3097339" y="165444"/>
                      <a:pt x="3100143" y="167076"/>
                    </a:cubicBezTo>
                    <a:cubicBezTo>
                      <a:pt x="3102948" y="168709"/>
                      <a:pt x="3106778" y="169525"/>
                      <a:pt x="3111633" y="169525"/>
                    </a:cubicBezTo>
                    <a:lnTo>
                      <a:pt x="3117284" y="169525"/>
                    </a:lnTo>
                    <a:lnTo>
                      <a:pt x="3117284" y="174171"/>
                    </a:lnTo>
                    <a:lnTo>
                      <a:pt x="3028127" y="174171"/>
                    </a:lnTo>
                    <a:lnTo>
                      <a:pt x="3028127" y="169525"/>
                    </a:lnTo>
                    <a:lnTo>
                      <a:pt x="3033778" y="169525"/>
                    </a:lnTo>
                    <a:cubicBezTo>
                      <a:pt x="3038717" y="169525"/>
                      <a:pt x="3042693" y="168646"/>
                      <a:pt x="3045707" y="166888"/>
                    </a:cubicBezTo>
                    <a:cubicBezTo>
                      <a:pt x="3047884" y="165716"/>
                      <a:pt x="3049600" y="163707"/>
                      <a:pt x="3050856" y="160860"/>
                    </a:cubicBezTo>
                    <a:cubicBezTo>
                      <a:pt x="3051776" y="158851"/>
                      <a:pt x="3052237" y="153577"/>
                      <a:pt x="3052237" y="145038"/>
                    </a:cubicBezTo>
                    <a:lnTo>
                      <a:pt x="3052237" y="13688"/>
                    </a:lnTo>
                    <a:lnTo>
                      <a:pt x="3039931" y="13688"/>
                    </a:lnTo>
                    <a:cubicBezTo>
                      <a:pt x="3028462" y="13688"/>
                      <a:pt x="3020132" y="16116"/>
                      <a:pt x="3014941" y="20971"/>
                    </a:cubicBezTo>
                    <a:cubicBezTo>
                      <a:pt x="3007658" y="27752"/>
                      <a:pt x="3003054" y="37421"/>
                      <a:pt x="3001128" y="49979"/>
                    </a:cubicBezTo>
                    <a:lnTo>
                      <a:pt x="2996357" y="49979"/>
                    </a:lnTo>
                    <a:close/>
                    <a:moveTo>
                      <a:pt x="2896963" y="3893"/>
                    </a:moveTo>
                    <a:lnTo>
                      <a:pt x="2985994" y="3893"/>
                    </a:lnTo>
                    <a:lnTo>
                      <a:pt x="2985994" y="8539"/>
                    </a:lnTo>
                    <a:lnTo>
                      <a:pt x="2980344" y="8539"/>
                    </a:lnTo>
                    <a:cubicBezTo>
                      <a:pt x="2975404" y="8539"/>
                      <a:pt x="2971428" y="9418"/>
                      <a:pt x="2968414" y="11176"/>
                    </a:cubicBezTo>
                    <a:cubicBezTo>
                      <a:pt x="2966237" y="12348"/>
                      <a:pt x="2964521" y="14358"/>
                      <a:pt x="2963266" y="17204"/>
                    </a:cubicBezTo>
                    <a:cubicBezTo>
                      <a:pt x="2962345" y="19213"/>
                      <a:pt x="2961884" y="24487"/>
                      <a:pt x="2961884" y="33026"/>
                    </a:cubicBezTo>
                    <a:lnTo>
                      <a:pt x="2961884" y="145038"/>
                    </a:lnTo>
                    <a:cubicBezTo>
                      <a:pt x="2961884" y="153744"/>
                      <a:pt x="2962366" y="159186"/>
                      <a:pt x="2963328" y="161363"/>
                    </a:cubicBezTo>
                    <a:cubicBezTo>
                      <a:pt x="2964291" y="163539"/>
                      <a:pt x="2966175" y="165444"/>
                      <a:pt x="2968979" y="167076"/>
                    </a:cubicBezTo>
                    <a:cubicBezTo>
                      <a:pt x="2971784" y="168709"/>
                      <a:pt x="2975572" y="169525"/>
                      <a:pt x="2980344" y="169525"/>
                    </a:cubicBezTo>
                    <a:lnTo>
                      <a:pt x="2985994" y="169525"/>
                    </a:lnTo>
                    <a:lnTo>
                      <a:pt x="2985994" y="174171"/>
                    </a:lnTo>
                    <a:lnTo>
                      <a:pt x="2896963" y="174171"/>
                    </a:lnTo>
                    <a:lnTo>
                      <a:pt x="2896963" y="169525"/>
                    </a:lnTo>
                    <a:lnTo>
                      <a:pt x="2902613" y="169525"/>
                    </a:lnTo>
                    <a:cubicBezTo>
                      <a:pt x="2907553" y="169525"/>
                      <a:pt x="2911529" y="168646"/>
                      <a:pt x="2914543" y="166888"/>
                    </a:cubicBezTo>
                    <a:cubicBezTo>
                      <a:pt x="2916720" y="165716"/>
                      <a:pt x="2918394" y="163707"/>
                      <a:pt x="2919566" y="160860"/>
                    </a:cubicBezTo>
                    <a:cubicBezTo>
                      <a:pt x="2920487" y="158851"/>
                      <a:pt x="2920947" y="153577"/>
                      <a:pt x="2920947" y="145038"/>
                    </a:cubicBezTo>
                    <a:lnTo>
                      <a:pt x="2920947" y="33026"/>
                    </a:lnTo>
                    <a:cubicBezTo>
                      <a:pt x="2920947" y="24320"/>
                      <a:pt x="2920487" y="18878"/>
                      <a:pt x="2919566" y="16702"/>
                    </a:cubicBezTo>
                    <a:cubicBezTo>
                      <a:pt x="2918645" y="14525"/>
                      <a:pt x="2916782" y="12621"/>
                      <a:pt x="2913978" y="10988"/>
                    </a:cubicBezTo>
                    <a:cubicBezTo>
                      <a:pt x="2911173" y="9356"/>
                      <a:pt x="2907385" y="8539"/>
                      <a:pt x="2902613" y="8539"/>
                    </a:cubicBezTo>
                    <a:lnTo>
                      <a:pt x="2896963" y="8539"/>
                    </a:lnTo>
                    <a:close/>
                    <a:moveTo>
                      <a:pt x="2563211" y="3893"/>
                    </a:moveTo>
                    <a:lnTo>
                      <a:pt x="2642322" y="3893"/>
                    </a:lnTo>
                    <a:cubicBezTo>
                      <a:pt x="2662916" y="3893"/>
                      <a:pt x="2677985" y="5316"/>
                      <a:pt x="2687529" y="8163"/>
                    </a:cubicBezTo>
                    <a:cubicBezTo>
                      <a:pt x="2697073" y="11009"/>
                      <a:pt x="2704858" y="16262"/>
                      <a:pt x="2710886" y="23922"/>
                    </a:cubicBezTo>
                    <a:cubicBezTo>
                      <a:pt x="2716913" y="31582"/>
                      <a:pt x="2719927" y="40561"/>
                      <a:pt x="2719927" y="50858"/>
                    </a:cubicBezTo>
                    <a:cubicBezTo>
                      <a:pt x="2719927" y="63415"/>
                      <a:pt x="2715406" y="73796"/>
                      <a:pt x="2706365" y="82000"/>
                    </a:cubicBezTo>
                    <a:cubicBezTo>
                      <a:pt x="2700589" y="87190"/>
                      <a:pt x="2692510" y="91083"/>
                      <a:pt x="2682129" y="93678"/>
                    </a:cubicBezTo>
                    <a:lnTo>
                      <a:pt x="2723066" y="151317"/>
                    </a:lnTo>
                    <a:cubicBezTo>
                      <a:pt x="2728424" y="158767"/>
                      <a:pt x="2732233" y="163414"/>
                      <a:pt x="2734493" y="165255"/>
                    </a:cubicBezTo>
                    <a:cubicBezTo>
                      <a:pt x="2737926" y="167851"/>
                      <a:pt x="2741902" y="169274"/>
                      <a:pt x="2746423" y="169525"/>
                    </a:cubicBezTo>
                    <a:lnTo>
                      <a:pt x="2746423" y="174171"/>
                    </a:lnTo>
                    <a:lnTo>
                      <a:pt x="2692803" y="174171"/>
                    </a:lnTo>
                    <a:lnTo>
                      <a:pt x="2637927" y="96567"/>
                    </a:lnTo>
                    <a:lnTo>
                      <a:pt x="2626751" y="96567"/>
                    </a:lnTo>
                    <a:lnTo>
                      <a:pt x="2626751" y="144285"/>
                    </a:lnTo>
                    <a:cubicBezTo>
                      <a:pt x="2626751" y="153493"/>
                      <a:pt x="2627316" y="159291"/>
                      <a:pt x="2628446" y="161677"/>
                    </a:cubicBezTo>
                    <a:cubicBezTo>
                      <a:pt x="2629577" y="164062"/>
                      <a:pt x="2631565" y="165967"/>
                      <a:pt x="2634411" y="167390"/>
                    </a:cubicBezTo>
                    <a:cubicBezTo>
                      <a:pt x="2637258" y="168813"/>
                      <a:pt x="2642574" y="169525"/>
                      <a:pt x="2650359" y="169525"/>
                    </a:cubicBezTo>
                    <a:lnTo>
                      <a:pt x="2650359" y="174171"/>
                    </a:lnTo>
                    <a:lnTo>
                      <a:pt x="2563211" y="174171"/>
                    </a:lnTo>
                    <a:lnTo>
                      <a:pt x="2563211" y="169525"/>
                    </a:lnTo>
                    <a:cubicBezTo>
                      <a:pt x="2571080" y="169525"/>
                      <a:pt x="2576417" y="168792"/>
                      <a:pt x="2579222" y="167327"/>
                    </a:cubicBezTo>
                    <a:cubicBezTo>
                      <a:pt x="2582026" y="165862"/>
                      <a:pt x="2583993" y="163958"/>
                      <a:pt x="2585124" y="161614"/>
                    </a:cubicBezTo>
                    <a:cubicBezTo>
                      <a:pt x="2586254" y="159270"/>
                      <a:pt x="2586819" y="153493"/>
                      <a:pt x="2586819" y="144285"/>
                    </a:cubicBezTo>
                    <a:lnTo>
                      <a:pt x="2586819" y="33780"/>
                    </a:lnTo>
                    <a:cubicBezTo>
                      <a:pt x="2586819" y="24571"/>
                      <a:pt x="2586254" y="18774"/>
                      <a:pt x="2585124" y="16388"/>
                    </a:cubicBezTo>
                    <a:cubicBezTo>
                      <a:pt x="2583993" y="14002"/>
                      <a:pt x="2582005" y="12097"/>
                      <a:pt x="2579159" y="10674"/>
                    </a:cubicBezTo>
                    <a:cubicBezTo>
                      <a:pt x="2576312" y="9251"/>
                      <a:pt x="2570996" y="8539"/>
                      <a:pt x="2563211" y="8539"/>
                    </a:cubicBezTo>
                    <a:close/>
                    <a:moveTo>
                      <a:pt x="2392138" y="3893"/>
                    </a:moveTo>
                    <a:lnTo>
                      <a:pt x="2534664" y="3893"/>
                    </a:lnTo>
                    <a:lnTo>
                      <a:pt x="2534664" y="54248"/>
                    </a:lnTo>
                    <a:lnTo>
                      <a:pt x="2529892" y="54248"/>
                    </a:lnTo>
                    <a:cubicBezTo>
                      <a:pt x="2527464" y="41942"/>
                      <a:pt x="2524053" y="33110"/>
                      <a:pt x="2519658" y="27752"/>
                    </a:cubicBezTo>
                    <a:cubicBezTo>
                      <a:pt x="2515263" y="22394"/>
                      <a:pt x="2509047" y="18460"/>
                      <a:pt x="2501010" y="15948"/>
                    </a:cubicBezTo>
                    <a:cubicBezTo>
                      <a:pt x="2496322" y="14441"/>
                      <a:pt x="2487532" y="13688"/>
                      <a:pt x="2474640" y="13688"/>
                    </a:cubicBezTo>
                    <a:lnTo>
                      <a:pt x="2457059" y="13688"/>
                    </a:lnTo>
                    <a:lnTo>
                      <a:pt x="2457059" y="83005"/>
                    </a:lnTo>
                    <a:lnTo>
                      <a:pt x="2460450" y="83005"/>
                    </a:lnTo>
                    <a:cubicBezTo>
                      <a:pt x="2471249" y="83005"/>
                      <a:pt x="2479077" y="79614"/>
                      <a:pt x="2483932" y="72833"/>
                    </a:cubicBezTo>
                    <a:cubicBezTo>
                      <a:pt x="2488788" y="66052"/>
                      <a:pt x="2491885" y="56048"/>
                      <a:pt x="2493225" y="42821"/>
                    </a:cubicBezTo>
                    <a:lnTo>
                      <a:pt x="2497996" y="42821"/>
                    </a:lnTo>
                    <a:lnTo>
                      <a:pt x="2497996" y="131978"/>
                    </a:lnTo>
                    <a:lnTo>
                      <a:pt x="2493225" y="131978"/>
                    </a:lnTo>
                    <a:cubicBezTo>
                      <a:pt x="2492220" y="122267"/>
                      <a:pt x="2490106" y="114314"/>
                      <a:pt x="2486883" y="108119"/>
                    </a:cubicBezTo>
                    <a:cubicBezTo>
                      <a:pt x="2483660" y="101924"/>
                      <a:pt x="2479914" y="97760"/>
                      <a:pt x="2475644" y="95625"/>
                    </a:cubicBezTo>
                    <a:cubicBezTo>
                      <a:pt x="2471375" y="93490"/>
                      <a:pt x="2465180" y="92423"/>
                      <a:pt x="2457059" y="92423"/>
                    </a:cubicBezTo>
                    <a:lnTo>
                      <a:pt x="2457059" y="140392"/>
                    </a:lnTo>
                    <a:cubicBezTo>
                      <a:pt x="2457059" y="149768"/>
                      <a:pt x="2457457" y="155503"/>
                      <a:pt x="2458252" y="157595"/>
                    </a:cubicBezTo>
                    <a:cubicBezTo>
                      <a:pt x="2459048" y="159688"/>
                      <a:pt x="2460533" y="161404"/>
                      <a:pt x="2462710" y="162744"/>
                    </a:cubicBezTo>
                    <a:cubicBezTo>
                      <a:pt x="2464887" y="164083"/>
                      <a:pt x="2468403" y="164753"/>
                      <a:pt x="2473258" y="164753"/>
                    </a:cubicBezTo>
                    <a:lnTo>
                      <a:pt x="2483430" y="164753"/>
                    </a:lnTo>
                    <a:cubicBezTo>
                      <a:pt x="2499336" y="164753"/>
                      <a:pt x="2512081" y="161070"/>
                      <a:pt x="2521667" y="153703"/>
                    </a:cubicBezTo>
                    <a:cubicBezTo>
                      <a:pt x="2531252" y="146336"/>
                      <a:pt x="2538138" y="135118"/>
                      <a:pt x="2542324" y="120049"/>
                    </a:cubicBezTo>
                    <a:lnTo>
                      <a:pt x="2546970" y="120049"/>
                    </a:lnTo>
                    <a:lnTo>
                      <a:pt x="2539310" y="174171"/>
                    </a:lnTo>
                    <a:lnTo>
                      <a:pt x="2392138" y="174171"/>
                    </a:lnTo>
                    <a:lnTo>
                      <a:pt x="2392138" y="169525"/>
                    </a:lnTo>
                    <a:lnTo>
                      <a:pt x="2397788" y="169525"/>
                    </a:lnTo>
                    <a:cubicBezTo>
                      <a:pt x="2402728" y="169525"/>
                      <a:pt x="2406704" y="168646"/>
                      <a:pt x="2409718" y="166888"/>
                    </a:cubicBezTo>
                    <a:cubicBezTo>
                      <a:pt x="2411895" y="165716"/>
                      <a:pt x="2413569" y="163707"/>
                      <a:pt x="2414741" y="160860"/>
                    </a:cubicBezTo>
                    <a:cubicBezTo>
                      <a:pt x="2415662" y="158851"/>
                      <a:pt x="2416122" y="153577"/>
                      <a:pt x="2416122" y="145038"/>
                    </a:cubicBezTo>
                    <a:lnTo>
                      <a:pt x="2416122" y="33026"/>
                    </a:lnTo>
                    <a:cubicBezTo>
                      <a:pt x="2416122" y="25324"/>
                      <a:pt x="2415913" y="20594"/>
                      <a:pt x="2415494" y="18836"/>
                    </a:cubicBezTo>
                    <a:cubicBezTo>
                      <a:pt x="2414657" y="15906"/>
                      <a:pt x="2413108" y="13646"/>
                      <a:pt x="2410848" y="12055"/>
                    </a:cubicBezTo>
                    <a:cubicBezTo>
                      <a:pt x="2407667" y="9711"/>
                      <a:pt x="2403314" y="8539"/>
                      <a:pt x="2397788" y="8539"/>
                    </a:cubicBezTo>
                    <a:lnTo>
                      <a:pt x="2392138" y="8539"/>
                    </a:lnTo>
                    <a:close/>
                    <a:moveTo>
                      <a:pt x="2208023" y="3893"/>
                    </a:moveTo>
                    <a:lnTo>
                      <a:pt x="2289646" y="3893"/>
                    </a:lnTo>
                    <a:lnTo>
                      <a:pt x="2289646" y="8539"/>
                    </a:lnTo>
                    <a:lnTo>
                      <a:pt x="2286884" y="8539"/>
                    </a:lnTo>
                    <a:cubicBezTo>
                      <a:pt x="2279517" y="8539"/>
                      <a:pt x="2274494" y="9460"/>
                      <a:pt x="2271815" y="11302"/>
                    </a:cubicBezTo>
                    <a:cubicBezTo>
                      <a:pt x="2269889" y="12558"/>
                      <a:pt x="2268927" y="14399"/>
                      <a:pt x="2268927" y="16827"/>
                    </a:cubicBezTo>
                    <a:cubicBezTo>
                      <a:pt x="2268927" y="18334"/>
                      <a:pt x="2269261" y="20113"/>
                      <a:pt x="2269931" y="22164"/>
                    </a:cubicBezTo>
                    <a:cubicBezTo>
                      <a:pt x="2270601" y="24215"/>
                      <a:pt x="2272861" y="29719"/>
                      <a:pt x="2276712" y="38677"/>
                    </a:cubicBezTo>
                    <a:lnTo>
                      <a:pt x="2313003" y="123439"/>
                    </a:lnTo>
                    <a:lnTo>
                      <a:pt x="2346657" y="47970"/>
                    </a:lnTo>
                    <a:cubicBezTo>
                      <a:pt x="2350675" y="38845"/>
                      <a:pt x="2353145" y="32733"/>
                      <a:pt x="2354066" y="29636"/>
                    </a:cubicBezTo>
                    <a:cubicBezTo>
                      <a:pt x="2354986" y="26538"/>
                      <a:pt x="2355447" y="23901"/>
                      <a:pt x="2355447" y="21725"/>
                    </a:cubicBezTo>
                    <a:cubicBezTo>
                      <a:pt x="2355447" y="19213"/>
                      <a:pt x="2354777" y="16995"/>
                      <a:pt x="2353438" y="15069"/>
                    </a:cubicBezTo>
                    <a:cubicBezTo>
                      <a:pt x="2352098" y="13144"/>
                      <a:pt x="2350131" y="11679"/>
                      <a:pt x="2347536" y="10674"/>
                    </a:cubicBezTo>
                    <a:cubicBezTo>
                      <a:pt x="2343936" y="9251"/>
                      <a:pt x="2339164" y="8539"/>
                      <a:pt x="2333220" y="8539"/>
                    </a:cubicBezTo>
                    <a:lnTo>
                      <a:pt x="2333220" y="3893"/>
                    </a:lnTo>
                    <a:lnTo>
                      <a:pt x="2389101" y="3893"/>
                    </a:lnTo>
                    <a:lnTo>
                      <a:pt x="2389101" y="8539"/>
                    </a:lnTo>
                    <a:cubicBezTo>
                      <a:pt x="2382906" y="9544"/>
                      <a:pt x="2377380" y="12851"/>
                      <a:pt x="2372525" y="18460"/>
                    </a:cubicBezTo>
                    <a:cubicBezTo>
                      <a:pt x="2369009" y="22646"/>
                      <a:pt x="2363777" y="32482"/>
                      <a:pt x="2356828" y="47970"/>
                    </a:cubicBezTo>
                    <a:lnTo>
                      <a:pt x="2298185" y="178064"/>
                    </a:lnTo>
                    <a:lnTo>
                      <a:pt x="2294041" y="178064"/>
                    </a:lnTo>
                    <a:lnTo>
                      <a:pt x="2235650" y="42695"/>
                    </a:lnTo>
                    <a:cubicBezTo>
                      <a:pt x="2228617" y="26371"/>
                      <a:pt x="2223908" y="16785"/>
                      <a:pt x="2221522" y="13939"/>
                    </a:cubicBezTo>
                    <a:cubicBezTo>
                      <a:pt x="2219137" y="11093"/>
                      <a:pt x="2214637" y="9293"/>
                      <a:pt x="2208023" y="8539"/>
                    </a:cubicBezTo>
                    <a:close/>
                    <a:moveTo>
                      <a:pt x="2115913" y="3893"/>
                    </a:moveTo>
                    <a:lnTo>
                      <a:pt x="2204944" y="3893"/>
                    </a:lnTo>
                    <a:lnTo>
                      <a:pt x="2204944" y="8539"/>
                    </a:lnTo>
                    <a:lnTo>
                      <a:pt x="2199294" y="8539"/>
                    </a:lnTo>
                    <a:cubicBezTo>
                      <a:pt x="2194354" y="8539"/>
                      <a:pt x="2190378" y="9418"/>
                      <a:pt x="2187364" y="11176"/>
                    </a:cubicBezTo>
                    <a:cubicBezTo>
                      <a:pt x="2185187" y="12348"/>
                      <a:pt x="2183471" y="14358"/>
                      <a:pt x="2182216" y="17204"/>
                    </a:cubicBezTo>
                    <a:cubicBezTo>
                      <a:pt x="2181295" y="19213"/>
                      <a:pt x="2180834" y="24487"/>
                      <a:pt x="2180834" y="33026"/>
                    </a:cubicBezTo>
                    <a:lnTo>
                      <a:pt x="2180834" y="145038"/>
                    </a:lnTo>
                    <a:cubicBezTo>
                      <a:pt x="2180834" y="153744"/>
                      <a:pt x="2181316" y="159186"/>
                      <a:pt x="2182278" y="161363"/>
                    </a:cubicBezTo>
                    <a:cubicBezTo>
                      <a:pt x="2183241" y="163539"/>
                      <a:pt x="2185125" y="165444"/>
                      <a:pt x="2187929" y="167076"/>
                    </a:cubicBezTo>
                    <a:cubicBezTo>
                      <a:pt x="2190734" y="168709"/>
                      <a:pt x="2194522" y="169525"/>
                      <a:pt x="2199294" y="169525"/>
                    </a:cubicBezTo>
                    <a:lnTo>
                      <a:pt x="2204944" y="169525"/>
                    </a:lnTo>
                    <a:lnTo>
                      <a:pt x="2204944" y="174171"/>
                    </a:lnTo>
                    <a:lnTo>
                      <a:pt x="2115913" y="174171"/>
                    </a:lnTo>
                    <a:lnTo>
                      <a:pt x="2115913" y="169525"/>
                    </a:lnTo>
                    <a:lnTo>
                      <a:pt x="2121563" y="169525"/>
                    </a:lnTo>
                    <a:cubicBezTo>
                      <a:pt x="2126503" y="169525"/>
                      <a:pt x="2130479" y="168646"/>
                      <a:pt x="2133493" y="166888"/>
                    </a:cubicBezTo>
                    <a:cubicBezTo>
                      <a:pt x="2135670" y="165716"/>
                      <a:pt x="2137344" y="163707"/>
                      <a:pt x="2138516" y="160860"/>
                    </a:cubicBezTo>
                    <a:cubicBezTo>
                      <a:pt x="2139437" y="158851"/>
                      <a:pt x="2139897" y="153577"/>
                      <a:pt x="2139897" y="145038"/>
                    </a:cubicBezTo>
                    <a:lnTo>
                      <a:pt x="2139897" y="33026"/>
                    </a:lnTo>
                    <a:cubicBezTo>
                      <a:pt x="2139897" y="24320"/>
                      <a:pt x="2139437" y="18878"/>
                      <a:pt x="2138516" y="16702"/>
                    </a:cubicBezTo>
                    <a:cubicBezTo>
                      <a:pt x="2137595" y="14525"/>
                      <a:pt x="2135732" y="12621"/>
                      <a:pt x="2132928" y="10988"/>
                    </a:cubicBezTo>
                    <a:cubicBezTo>
                      <a:pt x="2130123" y="9356"/>
                      <a:pt x="2126335" y="8539"/>
                      <a:pt x="2121563" y="8539"/>
                    </a:cubicBezTo>
                    <a:lnTo>
                      <a:pt x="2115913" y="8539"/>
                    </a:lnTo>
                    <a:close/>
                    <a:moveTo>
                      <a:pt x="1923906" y="3893"/>
                    </a:moveTo>
                    <a:lnTo>
                      <a:pt x="1984307" y="3893"/>
                    </a:lnTo>
                    <a:lnTo>
                      <a:pt x="2068316" y="109501"/>
                    </a:lnTo>
                    <a:lnTo>
                      <a:pt x="2068316" y="36291"/>
                    </a:lnTo>
                    <a:cubicBezTo>
                      <a:pt x="2068316" y="26078"/>
                      <a:pt x="2066851" y="19171"/>
                      <a:pt x="2063921" y="15572"/>
                    </a:cubicBezTo>
                    <a:cubicBezTo>
                      <a:pt x="2059902" y="10716"/>
                      <a:pt x="2053163" y="8372"/>
                      <a:pt x="2043703" y="8539"/>
                    </a:cubicBezTo>
                    <a:lnTo>
                      <a:pt x="2043703" y="3893"/>
                    </a:lnTo>
                    <a:lnTo>
                      <a:pt x="2099960" y="3893"/>
                    </a:lnTo>
                    <a:lnTo>
                      <a:pt x="2099960" y="8539"/>
                    </a:lnTo>
                    <a:cubicBezTo>
                      <a:pt x="2092761" y="9460"/>
                      <a:pt x="2087926" y="10653"/>
                      <a:pt x="2085456" y="12118"/>
                    </a:cubicBezTo>
                    <a:cubicBezTo>
                      <a:pt x="2082987" y="13583"/>
                      <a:pt x="2081061" y="15969"/>
                      <a:pt x="2079680" y="19276"/>
                    </a:cubicBezTo>
                    <a:cubicBezTo>
                      <a:pt x="2078299" y="22583"/>
                      <a:pt x="2077608" y="28254"/>
                      <a:pt x="2077608" y="36291"/>
                    </a:cubicBezTo>
                    <a:lnTo>
                      <a:pt x="2077608" y="178064"/>
                    </a:lnTo>
                    <a:lnTo>
                      <a:pt x="2073339" y="178064"/>
                    </a:lnTo>
                    <a:lnTo>
                      <a:pt x="1958187" y="36291"/>
                    </a:lnTo>
                    <a:lnTo>
                      <a:pt x="1958187" y="144536"/>
                    </a:lnTo>
                    <a:cubicBezTo>
                      <a:pt x="1958187" y="154330"/>
                      <a:pt x="1960427" y="160944"/>
                      <a:pt x="1964906" y="164376"/>
                    </a:cubicBezTo>
                    <a:cubicBezTo>
                      <a:pt x="1969384" y="167809"/>
                      <a:pt x="1974512" y="169525"/>
                      <a:pt x="1980288" y="169525"/>
                    </a:cubicBezTo>
                    <a:lnTo>
                      <a:pt x="1984307" y="169525"/>
                    </a:lnTo>
                    <a:lnTo>
                      <a:pt x="1984307" y="174171"/>
                    </a:lnTo>
                    <a:lnTo>
                      <a:pt x="1923906" y="174171"/>
                    </a:lnTo>
                    <a:lnTo>
                      <a:pt x="1923906" y="169525"/>
                    </a:lnTo>
                    <a:cubicBezTo>
                      <a:pt x="1933282" y="169441"/>
                      <a:pt x="1939812" y="167516"/>
                      <a:pt x="1943495" y="163749"/>
                    </a:cubicBezTo>
                    <a:cubicBezTo>
                      <a:pt x="1947179" y="159981"/>
                      <a:pt x="1949021" y="153577"/>
                      <a:pt x="1949021" y="144536"/>
                    </a:cubicBezTo>
                    <a:lnTo>
                      <a:pt x="1949021" y="24362"/>
                    </a:lnTo>
                    <a:lnTo>
                      <a:pt x="1945379" y="19841"/>
                    </a:lnTo>
                    <a:cubicBezTo>
                      <a:pt x="1941779" y="15320"/>
                      <a:pt x="1938598" y="12348"/>
                      <a:pt x="1935835" y="10925"/>
                    </a:cubicBezTo>
                    <a:cubicBezTo>
                      <a:pt x="1933073" y="9502"/>
                      <a:pt x="1929096" y="8707"/>
                      <a:pt x="1923906" y="8539"/>
                    </a:cubicBezTo>
                    <a:close/>
                    <a:moveTo>
                      <a:pt x="1735792" y="3893"/>
                    </a:moveTo>
                    <a:lnTo>
                      <a:pt x="1823693" y="3893"/>
                    </a:lnTo>
                    <a:lnTo>
                      <a:pt x="1823693" y="8539"/>
                    </a:lnTo>
                    <a:lnTo>
                      <a:pt x="1819298" y="8539"/>
                    </a:lnTo>
                    <a:cubicBezTo>
                      <a:pt x="1812685" y="8539"/>
                      <a:pt x="1808143" y="9230"/>
                      <a:pt x="1805674" y="10611"/>
                    </a:cubicBezTo>
                    <a:cubicBezTo>
                      <a:pt x="1803204" y="11993"/>
                      <a:pt x="1801446" y="13897"/>
                      <a:pt x="1800399" y="16325"/>
                    </a:cubicBezTo>
                    <a:cubicBezTo>
                      <a:pt x="1799353" y="18753"/>
                      <a:pt x="1798830" y="24822"/>
                      <a:pt x="1798830" y="34533"/>
                    </a:cubicBezTo>
                    <a:lnTo>
                      <a:pt x="1798830" y="117914"/>
                    </a:lnTo>
                    <a:cubicBezTo>
                      <a:pt x="1798830" y="133150"/>
                      <a:pt x="1799981" y="143238"/>
                      <a:pt x="1802283" y="148177"/>
                    </a:cubicBezTo>
                    <a:cubicBezTo>
                      <a:pt x="1804585" y="153117"/>
                      <a:pt x="1808373" y="157219"/>
                      <a:pt x="1813647" y="160484"/>
                    </a:cubicBezTo>
                    <a:cubicBezTo>
                      <a:pt x="1818922" y="163749"/>
                      <a:pt x="1825577" y="165381"/>
                      <a:pt x="1833614" y="165381"/>
                    </a:cubicBezTo>
                    <a:cubicBezTo>
                      <a:pt x="1842822" y="165381"/>
                      <a:pt x="1850671" y="163309"/>
                      <a:pt x="1857159" y="159165"/>
                    </a:cubicBezTo>
                    <a:cubicBezTo>
                      <a:pt x="1863647" y="155021"/>
                      <a:pt x="1868502" y="149308"/>
                      <a:pt x="1871725" y="142024"/>
                    </a:cubicBezTo>
                    <a:cubicBezTo>
                      <a:pt x="1874948" y="134741"/>
                      <a:pt x="1876560" y="122058"/>
                      <a:pt x="1876560" y="103975"/>
                    </a:cubicBezTo>
                    <a:lnTo>
                      <a:pt x="1876560" y="34533"/>
                    </a:lnTo>
                    <a:cubicBezTo>
                      <a:pt x="1876560" y="26915"/>
                      <a:pt x="1875765" y="21473"/>
                      <a:pt x="1874174" y="18209"/>
                    </a:cubicBezTo>
                    <a:cubicBezTo>
                      <a:pt x="1872583" y="14944"/>
                      <a:pt x="1870574" y="12683"/>
                      <a:pt x="1868146" y="11428"/>
                    </a:cubicBezTo>
                    <a:cubicBezTo>
                      <a:pt x="1864379" y="9502"/>
                      <a:pt x="1859063" y="8539"/>
                      <a:pt x="1852199" y="8539"/>
                    </a:cubicBezTo>
                    <a:lnTo>
                      <a:pt x="1852199" y="3893"/>
                    </a:lnTo>
                    <a:lnTo>
                      <a:pt x="1911093" y="3893"/>
                    </a:lnTo>
                    <a:lnTo>
                      <a:pt x="1911093" y="8539"/>
                    </a:lnTo>
                    <a:lnTo>
                      <a:pt x="1907577" y="8539"/>
                    </a:lnTo>
                    <a:cubicBezTo>
                      <a:pt x="1902805" y="8539"/>
                      <a:pt x="1898828" y="9502"/>
                      <a:pt x="1895647" y="11428"/>
                    </a:cubicBezTo>
                    <a:cubicBezTo>
                      <a:pt x="1892466" y="13353"/>
                      <a:pt x="1890164" y="16241"/>
                      <a:pt x="1888741" y="20092"/>
                    </a:cubicBezTo>
                    <a:cubicBezTo>
                      <a:pt x="1887652" y="22771"/>
                      <a:pt x="1887108" y="27585"/>
                      <a:pt x="1887108" y="34533"/>
                    </a:cubicBezTo>
                    <a:lnTo>
                      <a:pt x="1887108" y="99204"/>
                    </a:lnTo>
                    <a:cubicBezTo>
                      <a:pt x="1887108" y="119212"/>
                      <a:pt x="1885790" y="133653"/>
                      <a:pt x="1883152" y="142527"/>
                    </a:cubicBezTo>
                    <a:cubicBezTo>
                      <a:pt x="1880515" y="151400"/>
                      <a:pt x="1874090" y="159563"/>
                      <a:pt x="1863877" y="167013"/>
                    </a:cubicBezTo>
                    <a:cubicBezTo>
                      <a:pt x="1853664" y="174464"/>
                      <a:pt x="1839725" y="178189"/>
                      <a:pt x="1822061" y="178189"/>
                    </a:cubicBezTo>
                    <a:cubicBezTo>
                      <a:pt x="1807327" y="178189"/>
                      <a:pt x="1795942" y="176222"/>
                      <a:pt x="1787905" y="172288"/>
                    </a:cubicBezTo>
                    <a:cubicBezTo>
                      <a:pt x="1776938" y="166930"/>
                      <a:pt x="1769194" y="160065"/>
                      <a:pt x="1764674" y="151693"/>
                    </a:cubicBezTo>
                    <a:cubicBezTo>
                      <a:pt x="1760153" y="143322"/>
                      <a:pt x="1757893" y="132062"/>
                      <a:pt x="1757893" y="117914"/>
                    </a:cubicBezTo>
                    <a:lnTo>
                      <a:pt x="1757893" y="34533"/>
                    </a:lnTo>
                    <a:cubicBezTo>
                      <a:pt x="1757893" y="24738"/>
                      <a:pt x="1757349" y="18648"/>
                      <a:pt x="1756260" y="16262"/>
                    </a:cubicBezTo>
                    <a:cubicBezTo>
                      <a:pt x="1755172" y="13876"/>
                      <a:pt x="1753288" y="11972"/>
                      <a:pt x="1750609" y="10549"/>
                    </a:cubicBezTo>
                    <a:cubicBezTo>
                      <a:pt x="1747931" y="9125"/>
                      <a:pt x="1742991" y="8456"/>
                      <a:pt x="1735792" y="8539"/>
                    </a:cubicBezTo>
                    <a:close/>
                    <a:moveTo>
                      <a:pt x="1504806" y="3893"/>
                    </a:moveTo>
                    <a:lnTo>
                      <a:pt x="1565207" y="3893"/>
                    </a:lnTo>
                    <a:lnTo>
                      <a:pt x="1649216" y="109501"/>
                    </a:lnTo>
                    <a:lnTo>
                      <a:pt x="1649216" y="36291"/>
                    </a:lnTo>
                    <a:cubicBezTo>
                      <a:pt x="1649216" y="26078"/>
                      <a:pt x="1647751" y="19171"/>
                      <a:pt x="1644821" y="15572"/>
                    </a:cubicBezTo>
                    <a:cubicBezTo>
                      <a:pt x="1640802" y="10716"/>
                      <a:pt x="1634063" y="8372"/>
                      <a:pt x="1624603" y="8539"/>
                    </a:cubicBezTo>
                    <a:lnTo>
                      <a:pt x="1624603" y="3893"/>
                    </a:lnTo>
                    <a:lnTo>
                      <a:pt x="1680860" y="3893"/>
                    </a:lnTo>
                    <a:lnTo>
                      <a:pt x="1680860" y="8539"/>
                    </a:lnTo>
                    <a:cubicBezTo>
                      <a:pt x="1673661" y="9460"/>
                      <a:pt x="1668826" y="10653"/>
                      <a:pt x="1666356" y="12118"/>
                    </a:cubicBezTo>
                    <a:cubicBezTo>
                      <a:pt x="1663887" y="13583"/>
                      <a:pt x="1661961" y="15969"/>
                      <a:pt x="1660580" y="19276"/>
                    </a:cubicBezTo>
                    <a:cubicBezTo>
                      <a:pt x="1659199" y="22583"/>
                      <a:pt x="1658508" y="28254"/>
                      <a:pt x="1658508" y="36291"/>
                    </a:cubicBezTo>
                    <a:lnTo>
                      <a:pt x="1658508" y="178064"/>
                    </a:lnTo>
                    <a:lnTo>
                      <a:pt x="1654239" y="178064"/>
                    </a:lnTo>
                    <a:lnTo>
                      <a:pt x="1539087" y="36291"/>
                    </a:lnTo>
                    <a:lnTo>
                      <a:pt x="1539087" y="144536"/>
                    </a:lnTo>
                    <a:cubicBezTo>
                      <a:pt x="1539087" y="154330"/>
                      <a:pt x="1541327" y="160944"/>
                      <a:pt x="1545806" y="164376"/>
                    </a:cubicBezTo>
                    <a:cubicBezTo>
                      <a:pt x="1550284" y="167809"/>
                      <a:pt x="1555412" y="169525"/>
                      <a:pt x="1561188" y="169525"/>
                    </a:cubicBezTo>
                    <a:lnTo>
                      <a:pt x="1565207" y="169525"/>
                    </a:lnTo>
                    <a:lnTo>
                      <a:pt x="1565207" y="174171"/>
                    </a:lnTo>
                    <a:lnTo>
                      <a:pt x="1504806" y="174171"/>
                    </a:lnTo>
                    <a:lnTo>
                      <a:pt x="1504806" y="169525"/>
                    </a:lnTo>
                    <a:cubicBezTo>
                      <a:pt x="1514182" y="169441"/>
                      <a:pt x="1520712" y="167516"/>
                      <a:pt x="1524395" y="163749"/>
                    </a:cubicBezTo>
                    <a:cubicBezTo>
                      <a:pt x="1528079" y="159981"/>
                      <a:pt x="1529921" y="153577"/>
                      <a:pt x="1529921" y="144536"/>
                    </a:cubicBezTo>
                    <a:lnTo>
                      <a:pt x="1529921" y="24362"/>
                    </a:lnTo>
                    <a:lnTo>
                      <a:pt x="1526279" y="19841"/>
                    </a:lnTo>
                    <a:cubicBezTo>
                      <a:pt x="1522679" y="15320"/>
                      <a:pt x="1519498" y="12348"/>
                      <a:pt x="1516735" y="10925"/>
                    </a:cubicBezTo>
                    <a:cubicBezTo>
                      <a:pt x="1513973" y="9502"/>
                      <a:pt x="1509996" y="8707"/>
                      <a:pt x="1504806" y="8539"/>
                    </a:cubicBezTo>
                    <a:close/>
                    <a:moveTo>
                      <a:pt x="1334863" y="3893"/>
                    </a:moveTo>
                    <a:lnTo>
                      <a:pt x="1477389" y="3893"/>
                    </a:lnTo>
                    <a:lnTo>
                      <a:pt x="1477389" y="54248"/>
                    </a:lnTo>
                    <a:lnTo>
                      <a:pt x="1472617" y="54248"/>
                    </a:lnTo>
                    <a:cubicBezTo>
                      <a:pt x="1470189" y="41942"/>
                      <a:pt x="1466778" y="33110"/>
                      <a:pt x="1462383" y="27752"/>
                    </a:cubicBezTo>
                    <a:cubicBezTo>
                      <a:pt x="1457988" y="22394"/>
                      <a:pt x="1451772" y="18460"/>
                      <a:pt x="1443735" y="15948"/>
                    </a:cubicBezTo>
                    <a:cubicBezTo>
                      <a:pt x="1439047" y="14441"/>
                      <a:pt x="1430257" y="13688"/>
                      <a:pt x="1417365" y="13688"/>
                    </a:cubicBezTo>
                    <a:lnTo>
                      <a:pt x="1399784" y="13688"/>
                    </a:lnTo>
                    <a:lnTo>
                      <a:pt x="1399784" y="83005"/>
                    </a:lnTo>
                    <a:lnTo>
                      <a:pt x="1403175" y="83005"/>
                    </a:lnTo>
                    <a:cubicBezTo>
                      <a:pt x="1413974" y="83005"/>
                      <a:pt x="1421802" y="79614"/>
                      <a:pt x="1426657" y="72833"/>
                    </a:cubicBezTo>
                    <a:cubicBezTo>
                      <a:pt x="1431513" y="66052"/>
                      <a:pt x="1434610" y="56048"/>
                      <a:pt x="1435950" y="42821"/>
                    </a:cubicBezTo>
                    <a:lnTo>
                      <a:pt x="1440721" y="42821"/>
                    </a:lnTo>
                    <a:lnTo>
                      <a:pt x="1440721" y="131978"/>
                    </a:lnTo>
                    <a:lnTo>
                      <a:pt x="1435950" y="131978"/>
                    </a:lnTo>
                    <a:cubicBezTo>
                      <a:pt x="1434945" y="122267"/>
                      <a:pt x="1432831" y="114314"/>
                      <a:pt x="1429608" y="108119"/>
                    </a:cubicBezTo>
                    <a:cubicBezTo>
                      <a:pt x="1426385" y="101924"/>
                      <a:pt x="1422639" y="97760"/>
                      <a:pt x="1418369" y="95625"/>
                    </a:cubicBezTo>
                    <a:cubicBezTo>
                      <a:pt x="1414100" y="93490"/>
                      <a:pt x="1407905" y="92423"/>
                      <a:pt x="1399784" y="92423"/>
                    </a:cubicBezTo>
                    <a:lnTo>
                      <a:pt x="1399784" y="140392"/>
                    </a:lnTo>
                    <a:cubicBezTo>
                      <a:pt x="1399784" y="149768"/>
                      <a:pt x="1400182" y="155503"/>
                      <a:pt x="1400977" y="157595"/>
                    </a:cubicBezTo>
                    <a:cubicBezTo>
                      <a:pt x="1401773" y="159688"/>
                      <a:pt x="1403259" y="161404"/>
                      <a:pt x="1405435" y="162744"/>
                    </a:cubicBezTo>
                    <a:cubicBezTo>
                      <a:pt x="1407612" y="164083"/>
                      <a:pt x="1411128" y="164753"/>
                      <a:pt x="1415983" y="164753"/>
                    </a:cubicBezTo>
                    <a:lnTo>
                      <a:pt x="1426155" y="164753"/>
                    </a:lnTo>
                    <a:cubicBezTo>
                      <a:pt x="1442061" y="164753"/>
                      <a:pt x="1454807" y="161070"/>
                      <a:pt x="1464392" y="153703"/>
                    </a:cubicBezTo>
                    <a:cubicBezTo>
                      <a:pt x="1473977" y="146336"/>
                      <a:pt x="1480863" y="135118"/>
                      <a:pt x="1485049" y="120049"/>
                    </a:cubicBezTo>
                    <a:lnTo>
                      <a:pt x="1489695" y="120049"/>
                    </a:lnTo>
                    <a:lnTo>
                      <a:pt x="1482035" y="174171"/>
                    </a:lnTo>
                    <a:lnTo>
                      <a:pt x="1334863" y="174171"/>
                    </a:lnTo>
                    <a:lnTo>
                      <a:pt x="1334863" y="169525"/>
                    </a:lnTo>
                    <a:lnTo>
                      <a:pt x="1340514" y="169525"/>
                    </a:lnTo>
                    <a:cubicBezTo>
                      <a:pt x="1345453" y="169525"/>
                      <a:pt x="1349429" y="168646"/>
                      <a:pt x="1352443" y="166888"/>
                    </a:cubicBezTo>
                    <a:cubicBezTo>
                      <a:pt x="1354620" y="165716"/>
                      <a:pt x="1356294" y="163707"/>
                      <a:pt x="1357466" y="160860"/>
                    </a:cubicBezTo>
                    <a:cubicBezTo>
                      <a:pt x="1358387" y="158851"/>
                      <a:pt x="1358847" y="153577"/>
                      <a:pt x="1358847" y="145038"/>
                    </a:cubicBezTo>
                    <a:lnTo>
                      <a:pt x="1358847" y="33026"/>
                    </a:lnTo>
                    <a:cubicBezTo>
                      <a:pt x="1358847" y="25324"/>
                      <a:pt x="1358638" y="20594"/>
                      <a:pt x="1358219" y="18836"/>
                    </a:cubicBezTo>
                    <a:cubicBezTo>
                      <a:pt x="1357382" y="15906"/>
                      <a:pt x="1355834" y="13646"/>
                      <a:pt x="1353573" y="12055"/>
                    </a:cubicBezTo>
                    <a:cubicBezTo>
                      <a:pt x="1350392" y="9711"/>
                      <a:pt x="1346039" y="8539"/>
                      <a:pt x="1340514" y="8539"/>
                    </a:cubicBezTo>
                    <a:lnTo>
                      <a:pt x="1334863" y="8539"/>
                    </a:lnTo>
                    <a:close/>
                    <a:moveTo>
                      <a:pt x="958007" y="3893"/>
                    </a:moveTo>
                    <a:lnTo>
                      <a:pt x="1110955" y="3893"/>
                    </a:lnTo>
                    <a:lnTo>
                      <a:pt x="1110955" y="49979"/>
                    </a:lnTo>
                    <a:lnTo>
                      <a:pt x="1106435" y="49979"/>
                    </a:lnTo>
                    <a:cubicBezTo>
                      <a:pt x="1103756" y="39347"/>
                      <a:pt x="1100784" y="31708"/>
                      <a:pt x="1097519" y="27062"/>
                    </a:cubicBezTo>
                    <a:cubicBezTo>
                      <a:pt x="1094254" y="22415"/>
                      <a:pt x="1089775" y="18711"/>
                      <a:pt x="1084083" y="15948"/>
                    </a:cubicBezTo>
                    <a:cubicBezTo>
                      <a:pt x="1080902" y="14441"/>
                      <a:pt x="1075334" y="13688"/>
                      <a:pt x="1067381" y="13688"/>
                    </a:cubicBezTo>
                    <a:lnTo>
                      <a:pt x="1054698" y="13688"/>
                    </a:lnTo>
                    <a:lnTo>
                      <a:pt x="1054698" y="145038"/>
                    </a:lnTo>
                    <a:cubicBezTo>
                      <a:pt x="1054698" y="153744"/>
                      <a:pt x="1055180" y="159186"/>
                      <a:pt x="1056143" y="161363"/>
                    </a:cubicBezTo>
                    <a:cubicBezTo>
                      <a:pt x="1057105" y="163539"/>
                      <a:pt x="1058989" y="165444"/>
                      <a:pt x="1061793" y="167076"/>
                    </a:cubicBezTo>
                    <a:cubicBezTo>
                      <a:pt x="1064598" y="168709"/>
                      <a:pt x="1068428" y="169525"/>
                      <a:pt x="1073283" y="169525"/>
                    </a:cubicBezTo>
                    <a:lnTo>
                      <a:pt x="1078934" y="169525"/>
                    </a:lnTo>
                    <a:lnTo>
                      <a:pt x="1078934" y="174171"/>
                    </a:lnTo>
                    <a:lnTo>
                      <a:pt x="989777" y="174171"/>
                    </a:lnTo>
                    <a:lnTo>
                      <a:pt x="989777" y="169525"/>
                    </a:lnTo>
                    <a:lnTo>
                      <a:pt x="995428" y="169525"/>
                    </a:lnTo>
                    <a:cubicBezTo>
                      <a:pt x="1000367" y="169525"/>
                      <a:pt x="1004343" y="168646"/>
                      <a:pt x="1007357" y="166888"/>
                    </a:cubicBezTo>
                    <a:cubicBezTo>
                      <a:pt x="1009534" y="165716"/>
                      <a:pt x="1011250" y="163707"/>
                      <a:pt x="1012506" y="160860"/>
                    </a:cubicBezTo>
                    <a:cubicBezTo>
                      <a:pt x="1013426" y="158851"/>
                      <a:pt x="1013887" y="153577"/>
                      <a:pt x="1013887" y="145038"/>
                    </a:cubicBezTo>
                    <a:lnTo>
                      <a:pt x="1013887" y="13688"/>
                    </a:lnTo>
                    <a:lnTo>
                      <a:pt x="1001581" y="13688"/>
                    </a:lnTo>
                    <a:cubicBezTo>
                      <a:pt x="990112" y="13688"/>
                      <a:pt x="981782" y="16116"/>
                      <a:pt x="976592" y="20971"/>
                    </a:cubicBezTo>
                    <a:cubicBezTo>
                      <a:pt x="969308" y="27752"/>
                      <a:pt x="964704" y="37421"/>
                      <a:pt x="962778" y="49979"/>
                    </a:cubicBezTo>
                    <a:lnTo>
                      <a:pt x="958007" y="49979"/>
                    </a:lnTo>
                    <a:close/>
                    <a:moveTo>
                      <a:pt x="617599" y="3893"/>
                    </a:moveTo>
                    <a:lnTo>
                      <a:pt x="699222" y="3893"/>
                    </a:lnTo>
                    <a:lnTo>
                      <a:pt x="699222" y="8539"/>
                    </a:lnTo>
                    <a:lnTo>
                      <a:pt x="695581" y="8539"/>
                    </a:lnTo>
                    <a:cubicBezTo>
                      <a:pt x="690642" y="8539"/>
                      <a:pt x="687188" y="9251"/>
                      <a:pt x="685221" y="10674"/>
                    </a:cubicBezTo>
                    <a:cubicBezTo>
                      <a:pt x="683254" y="12097"/>
                      <a:pt x="682270" y="13604"/>
                      <a:pt x="682270" y="15195"/>
                    </a:cubicBezTo>
                    <a:cubicBezTo>
                      <a:pt x="682270" y="18209"/>
                      <a:pt x="685619" y="25785"/>
                      <a:pt x="692316" y="37924"/>
                    </a:cubicBezTo>
                    <a:lnTo>
                      <a:pt x="723081" y="94306"/>
                    </a:lnTo>
                    <a:lnTo>
                      <a:pt x="753721" y="42947"/>
                    </a:lnTo>
                    <a:cubicBezTo>
                      <a:pt x="761340" y="30389"/>
                      <a:pt x="765149" y="22059"/>
                      <a:pt x="765149" y="17957"/>
                    </a:cubicBezTo>
                    <a:cubicBezTo>
                      <a:pt x="765149" y="15697"/>
                      <a:pt x="764060" y="13813"/>
                      <a:pt x="761884" y="12307"/>
                    </a:cubicBezTo>
                    <a:cubicBezTo>
                      <a:pt x="759037" y="10214"/>
                      <a:pt x="753805" y="8958"/>
                      <a:pt x="746187" y="8539"/>
                    </a:cubicBezTo>
                    <a:lnTo>
                      <a:pt x="746187" y="3893"/>
                    </a:lnTo>
                    <a:lnTo>
                      <a:pt x="798175" y="3893"/>
                    </a:lnTo>
                    <a:lnTo>
                      <a:pt x="798175" y="8539"/>
                    </a:lnTo>
                    <a:cubicBezTo>
                      <a:pt x="792565" y="9293"/>
                      <a:pt x="788254" y="10925"/>
                      <a:pt x="785240" y="13437"/>
                    </a:cubicBezTo>
                    <a:cubicBezTo>
                      <a:pt x="781055" y="16953"/>
                      <a:pt x="774441" y="26538"/>
                      <a:pt x="765400" y="42193"/>
                    </a:cubicBezTo>
                    <a:lnTo>
                      <a:pt x="728481" y="103850"/>
                    </a:lnTo>
                    <a:lnTo>
                      <a:pt x="728481" y="145038"/>
                    </a:lnTo>
                    <a:cubicBezTo>
                      <a:pt x="728481" y="153828"/>
                      <a:pt x="728941" y="159291"/>
                      <a:pt x="729862" y="161425"/>
                    </a:cubicBezTo>
                    <a:cubicBezTo>
                      <a:pt x="730783" y="163560"/>
                      <a:pt x="732604" y="165444"/>
                      <a:pt x="735325" y="167076"/>
                    </a:cubicBezTo>
                    <a:cubicBezTo>
                      <a:pt x="738046" y="168709"/>
                      <a:pt x="741666" y="169525"/>
                      <a:pt x="746187" y="169525"/>
                    </a:cubicBezTo>
                    <a:lnTo>
                      <a:pt x="755731" y="169525"/>
                    </a:lnTo>
                    <a:lnTo>
                      <a:pt x="755731" y="174171"/>
                    </a:lnTo>
                    <a:lnTo>
                      <a:pt x="660169" y="174171"/>
                    </a:lnTo>
                    <a:lnTo>
                      <a:pt x="660169" y="169525"/>
                    </a:lnTo>
                    <a:lnTo>
                      <a:pt x="669085" y="169525"/>
                    </a:lnTo>
                    <a:cubicBezTo>
                      <a:pt x="674108" y="169525"/>
                      <a:pt x="678084" y="168646"/>
                      <a:pt x="681014" y="166888"/>
                    </a:cubicBezTo>
                    <a:cubicBezTo>
                      <a:pt x="683191" y="165716"/>
                      <a:pt x="684907" y="163707"/>
                      <a:pt x="686163" y="160860"/>
                    </a:cubicBezTo>
                    <a:cubicBezTo>
                      <a:pt x="687084" y="158851"/>
                      <a:pt x="687544" y="153577"/>
                      <a:pt x="687544" y="145038"/>
                    </a:cubicBezTo>
                    <a:lnTo>
                      <a:pt x="687544" y="110882"/>
                    </a:lnTo>
                    <a:lnTo>
                      <a:pt x="647486" y="37924"/>
                    </a:lnTo>
                    <a:cubicBezTo>
                      <a:pt x="639533" y="23525"/>
                      <a:pt x="633924" y="15048"/>
                      <a:pt x="630659" y="12495"/>
                    </a:cubicBezTo>
                    <a:cubicBezTo>
                      <a:pt x="627394" y="9942"/>
                      <a:pt x="623041" y="8623"/>
                      <a:pt x="617599" y="8539"/>
                    </a:cubicBezTo>
                    <a:close/>
                    <a:moveTo>
                      <a:pt x="323706" y="3893"/>
                    </a:moveTo>
                    <a:lnTo>
                      <a:pt x="384107" y="3893"/>
                    </a:lnTo>
                    <a:lnTo>
                      <a:pt x="468116" y="109501"/>
                    </a:lnTo>
                    <a:lnTo>
                      <a:pt x="468116" y="36291"/>
                    </a:lnTo>
                    <a:cubicBezTo>
                      <a:pt x="468116" y="26078"/>
                      <a:pt x="466651" y="19171"/>
                      <a:pt x="463721" y="15572"/>
                    </a:cubicBezTo>
                    <a:cubicBezTo>
                      <a:pt x="459702" y="10716"/>
                      <a:pt x="452963" y="8372"/>
                      <a:pt x="443503" y="8539"/>
                    </a:cubicBezTo>
                    <a:lnTo>
                      <a:pt x="443503" y="3893"/>
                    </a:lnTo>
                    <a:lnTo>
                      <a:pt x="499760" y="3893"/>
                    </a:lnTo>
                    <a:lnTo>
                      <a:pt x="499760" y="8539"/>
                    </a:lnTo>
                    <a:cubicBezTo>
                      <a:pt x="492561" y="9460"/>
                      <a:pt x="487726" y="10653"/>
                      <a:pt x="485256" y="12118"/>
                    </a:cubicBezTo>
                    <a:cubicBezTo>
                      <a:pt x="482787" y="13583"/>
                      <a:pt x="480861" y="15969"/>
                      <a:pt x="479480" y="19276"/>
                    </a:cubicBezTo>
                    <a:cubicBezTo>
                      <a:pt x="478099" y="22583"/>
                      <a:pt x="477408" y="28254"/>
                      <a:pt x="477408" y="36291"/>
                    </a:cubicBezTo>
                    <a:lnTo>
                      <a:pt x="477408" y="178064"/>
                    </a:lnTo>
                    <a:lnTo>
                      <a:pt x="473138" y="178064"/>
                    </a:lnTo>
                    <a:lnTo>
                      <a:pt x="357987" y="36291"/>
                    </a:lnTo>
                    <a:lnTo>
                      <a:pt x="357987" y="144536"/>
                    </a:lnTo>
                    <a:cubicBezTo>
                      <a:pt x="357987" y="154330"/>
                      <a:pt x="360227" y="160944"/>
                      <a:pt x="364706" y="164376"/>
                    </a:cubicBezTo>
                    <a:cubicBezTo>
                      <a:pt x="369184" y="167809"/>
                      <a:pt x="374312" y="169525"/>
                      <a:pt x="380088" y="169525"/>
                    </a:cubicBezTo>
                    <a:lnTo>
                      <a:pt x="384107" y="169525"/>
                    </a:lnTo>
                    <a:lnTo>
                      <a:pt x="384107" y="174171"/>
                    </a:lnTo>
                    <a:lnTo>
                      <a:pt x="323706" y="174171"/>
                    </a:lnTo>
                    <a:lnTo>
                      <a:pt x="323706" y="169525"/>
                    </a:lnTo>
                    <a:cubicBezTo>
                      <a:pt x="333082" y="169441"/>
                      <a:pt x="339612" y="167516"/>
                      <a:pt x="343296" y="163749"/>
                    </a:cubicBezTo>
                    <a:cubicBezTo>
                      <a:pt x="346979" y="159981"/>
                      <a:pt x="348821" y="153577"/>
                      <a:pt x="348821" y="144536"/>
                    </a:cubicBezTo>
                    <a:lnTo>
                      <a:pt x="348821" y="24362"/>
                    </a:lnTo>
                    <a:lnTo>
                      <a:pt x="345179" y="19841"/>
                    </a:lnTo>
                    <a:cubicBezTo>
                      <a:pt x="341579" y="15320"/>
                      <a:pt x="338398" y="12348"/>
                      <a:pt x="335635" y="10925"/>
                    </a:cubicBezTo>
                    <a:cubicBezTo>
                      <a:pt x="332873" y="9502"/>
                      <a:pt x="328896" y="8707"/>
                      <a:pt x="323706" y="8539"/>
                    </a:cubicBezTo>
                    <a:close/>
                    <a:moveTo>
                      <a:pt x="135592" y="3893"/>
                    </a:moveTo>
                    <a:lnTo>
                      <a:pt x="223493" y="3893"/>
                    </a:lnTo>
                    <a:lnTo>
                      <a:pt x="223493" y="8539"/>
                    </a:lnTo>
                    <a:lnTo>
                      <a:pt x="219098" y="8539"/>
                    </a:lnTo>
                    <a:cubicBezTo>
                      <a:pt x="212485" y="8539"/>
                      <a:pt x="207943" y="9230"/>
                      <a:pt x="205474" y="10611"/>
                    </a:cubicBezTo>
                    <a:cubicBezTo>
                      <a:pt x="203004" y="11993"/>
                      <a:pt x="201246" y="13897"/>
                      <a:pt x="200199" y="16325"/>
                    </a:cubicBezTo>
                    <a:cubicBezTo>
                      <a:pt x="199153" y="18753"/>
                      <a:pt x="198630" y="24822"/>
                      <a:pt x="198630" y="34533"/>
                    </a:cubicBezTo>
                    <a:lnTo>
                      <a:pt x="198630" y="117914"/>
                    </a:lnTo>
                    <a:cubicBezTo>
                      <a:pt x="198630" y="133150"/>
                      <a:pt x="199781" y="143238"/>
                      <a:pt x="202083" y="148177"/>
                    </a:cubicBezTo>
                    <a:cubicBezTo>
                      <a:pt x="204385" y="153117"/>
                      <a:pt x="208173" y="157219"/>
                      <a:pt x="213448" y="160484"/>
                    </a:cubicBezTo>
                    <a:cubicBezTo>
                      <a:pt x="218721" y="163749"/>
                      <a:pt x="225377" y="165381"/>
                      <a:pt x="233414" y="165381"/>
                    </a:cubicBezTo>
                    <a:cubicBezTo>
                      <a:pt x="242622" y="165381"/>
                      <a:pt x="250471" y="163309"/>
                      <a:pt x="256959" y="159165"/>
                    </a:cubicBezTo>
                    <a:cubicBezTo>
                      <a:pt x="263447" y="155021"/>
                      <a:pt x="268302" y="149308"/>
                      <a:pt x="271525" y="142024"/>
                    </a:cubicBezTo>
                    <a:cubicBezTo>
                      <a:pt x="274748" y="134741"/>
                      <a:pt x="276360" y="122058"/>
                      <a:pt x="276360" y="103975"/>
                    </a:cubicBezTo>
                    <a:lnTo>
                      <a:pt x="276360" y="34533"/>
                    </a:lnTo>
                    <a:cubicBezTo>
                      <a:pt x="276360" y="26915"/>
                      <a:pt x="275564" y="21473"/>
                      <a:pt x="273974" y="18209"/>
                    </a:cubicBezTo>
                    <a:cubicBezTo>
                      <a:pt x="272383" y="14944"/>
                      <a:pt x="270374" y="12683"/>
                      <a:pt x="267946" y="11428"/>
                    </a:cubicBezTo>
                    <a:cubicBezTo>
                      <a:pt x="264179" y="9502"/>
                      <a:pt x="258863" y="8539"/>
                      <a:pt x="251998" y="8539"/>
                    </a:cubicBezTo>
                    <a:lnTo>
                      <a:pt x="251998" y="3893"/>
                    </a:lnTo>
                    <a:lnTo>
                      <a:pt x="310893" y="3893"/>
                    </a:lnTo>
                    <a:lnTo>
                      <a:pt x="310893" y="8539"/>
                    </a:lnTo>
                    <a:lnTo>
                      <a:pt x="307377" y="8539"/>
                    </a:lnTo>
                    <a:cubicBezTo>
                      <a:pt x="302605" y="8539"/>
                      <a:pt x="298628" y="9502"/>
                      <a:pt x="295447" y="11428"/>
                    </a:cubicBezTo>
                    <a:cubicBezTo>
                      <a:pt x="292266" y="13353"/>
                      <a:pt x="289964" y="16241"/>
                      <a:pt x="288540" y="20092"/>
                    </a:cubicBezTo>
                    <a:cubicBezTo>
                      <a:pt x="287452" y="22771"/>
                      <a:pt x="286908" y="27585"/>
                      <a:pt x="286908" y="34533"/>
                    </a:cubicBezTo>
                    <a:lnTo>
                      <a:pt x="286908" y="99204"/>
                    </a:lnTo>
                    <a:cubicBezTo>
                      <a:pt x="286908" y="119212"/>
                      <a:pt x="285589" y="133653"/>
                      <a:pt x="282953" y="142527"/>
                    </a:cubicBezTo>
                    <a:cubicBezTo>
                      <a:pt x="280315" y="151400"/>
                      <a:pt x="273890" y="159563"/>
                      <a:pt x="263677" y="167013"/>
                    </a:cubicBezTo>
                    <a:cubicBezTo>
                      <a:pt x="253464" y="174464"/>
                      <a:pt x="239525" y="178189"/>
                      <a:pt x="221861" y="178189"/>
                    </a:cubicBezTo>
                    <a:cubicBezTo>
                      <a:pt x="207127" y="178189"/>
                      <a:pt x="195741" y="176222"/>
                      <a:pt x="187705" y="172288"/>
                    </a:cubicBezTo>
                    <a:cubicBezTo>
                      <a:pt x="176738" y="166930"/>
                      <a:pt x="168994" y="160065"/>
                      <a:pt x="164474" y="151693"/>
                    </a:cubicBezTo>
                    <a:cubicBezTo>
                      <a:pt x="159953" y="143322"/>
                      <a:pt x="157693" y="132062"/>
                      <a:pt x="157693" y="117914"/>
                    </a:cubicBezTo>
                    <a:lnTo>
                      <a:pt x="157693" y="34533"/>
                    </a:lnTo>
                    <a:cubicBezTo>
                      <a:pt x="157693" y="24738"/>
                      <a:pt x="157149" y="18648"/>
                      <a:pt x="156060" y="16262"/>
                    </a:cubicBezTo>
                    <a:cubicBezTo>
                      <a:pt x="154972" y="13876"/>
                      <a:pt x="153088" y="11972"/>
                      <a:pt x="150410" y="10549"/>
                    </a:cubicBezTo>
                    <a:cubicBezTo>
                      <a:pt x="147731" y="9125"/>
                      <a:pt x="142791" y="8456"/>
                      <a:pt x="135592" y="8539"/>
                    </a:cubicBezTo>
                    <a:close/>
                    <a:moveTo>
                      <a:pt x="879337" y="377"/>
                    </a:moveTo>
                    <a:lnTo>
                      <a:pt x="881723" y="377"/>
                    </a:lnTo>
                    <a:lnTo>
                      <a:pt x="943128" y="140015"/>
                    </a:lnTo>
                    <a:cubicBezTo>
                      <a:pt x="948988" y="153242"/>
                      <a:pt x="953802" y="161572"/>
                      <a:pt x="957569" y="165004"/>
                    </a:cubicBezTo>
                    <a:cubicBezTo>
                      <a:pt x="960416" y="167599"/>
                      <a:pt x="964434" y="169106"/>
                      <a:pt x="969625" y="169525"/>
                    </a:cubicBezTo>
                    <a:lnTo>
                      <a:pt x="969625" y="174171"/>
                    </a:lnTo>
                    <a:lnTo>
                      <a:pt x="887248" y="174171"/>
                    </a:lnTo>
                    <a:lnTo>
                      <a:pt x="887248" y="169525"/>
                    </a:lnTo>
                    <a:lnTo>
                      <a:pt x="890639" y="169525"/>
                    </a:lnTo>
                    <a:cubicBezTo>
                      <a:pt x="897252" y="169525"/>
                      <a:pt x="901898" y="168604"/>
                      <a:pt x="904577" y="166762"/>
                    </a:cubicBezTo>
                    <a:cubicBezTo>
                      <a:pt x="906419" y="165423"/>
                      <a:pt x="907340" y="163497"/>
                      <a:pt x="907340" y="160986"/>
                    </a:cubicBezTo>
                    <a:cubicBezTo>
                      <a:pt x="907340" y="159479"/>
                      <a:pt x="907089" y="157930"/>
                      <a:pt x="906586" y="156340"/>
                    </a:cubicBezTo>
                    <a:cubicBezTo>
                      <a:pt x="906419" y="155586"/>
                      <a:pt x="905163" y="152447"/>
                      <a:pt x="902819" y="146922"/>
                    </a:cubicBezTo>
                    <a:lnTo>
                      <a:pt x="893778" y="125700"/>
                    </a:lnTo>
                    <a:lnTo>
                      <a:pt x="833628" y="125700"/>
                    </a:lnTo>
                    <a:lnTo>
                      <a:pt x="826470" y="142275"/>
                    </a:lnTo>
                    <a:cubicBezTo>
                      <a:pt x="824126" y="147801"/>
                      <a:pt x="822955" y="152363"/>
                      <a:pt x="822955" y="155963"/>
                    </a:cubicBezTo>
                    <a:cubicBezTo>
                      <a:pt x="822955" y="160735"/>
                      <a:pt x="824880" y="164251"/>
                      <a:pt x="828731" y="166511"/>
                    </a:cubicBezTo>
                    <a:cubicBezTo>
                      <a:pt x="830991" y="167851"/>
                      <a:pt x="836558" y="168855"/>
                      <a:pt x="845432" y="169525"/>
                    </a:cubicBezTo>
                    <a:lnTo>
                      <a:pt x="845432" y="174171"/>
                    </a:lnTo>
                    <a:lnTo>
                      <a:pt x="788798" y="174171"/>
                    </a:lnTo>
                    <a:lnTo>
                      <a:pt x="788798" y="169525"/>
                    </a:lnTo>
                    <a:cubicBezTo>
                      <a:pt x="794910" y="168604"/>
                      <a:pt x="799932" y="166072"/>
                      <a:pt x="803867" y="161928"/>
                    </a:cubicBezTo>
                    <a:cubicBezTo>
                      <a:pt x="807802" y="157784"/>
                      <a:pt x="812657" y="149224"/>
                      <a:pt x="818434" y="136248"/>
                    </a:cubicBezTo>
                    <a:close/>
                    <a:moveTo>
                      <a:pt x="2814991" y="0"/>
                    </a:moveTo>
                    <a:cubicBezTo>
                      <a:pt x="2820516" y="0"/>
                      <a:pt x="2825874" y="670"/>
                      <a:pt x="2831064" y="2010"/>
                    </a:cubicBezTo>
                    <a:cubicBezTo>
                      <a:pt x="2834999" y="3014"/>
                      <a:pt x="2839792" y="4877"/>
                      <a:pt x="2845443" y="7598"/>
                    </a:cubicBezTo>
                    <a:cubicBezTo>
                      <a:pt x="2851093" y="10318"/>
                      <a:pt x="2855049" y="11679"/>
                      <a:pt x="2857309" y="11679"/>
                    </a:cubicBezTo>
                    <a:cubicBezTo>
                      <a:pt x="2859486" y="11679"/>
                      <a:pt x="2861202" y="11009"/>
                      <a:pt x="2862458" y="9670"/>
                    </a:cubicBezTo>
                    <a:cubicBezTo>
                      <a:pt x="2863714" y="8330"/>
                      <a:pt x="2864886" y="5107"/>
                      <a:pt x="2865974" y="0"/>
                    </a:cubicBezTo>
                    <a:lnTo>
                      <a:pt x="2869741" y="0"/>
                    </a:lnTo>
                    <a:lnTo>
                      <a:pt x="2871122" y="56760"/>
                    </a:lnTo>
                    <a:lnTo>
                      <a:pt x="2865974" y="56760"/>
                    </a:lnTo>
                    <a:cubicBezTo>
                      <a:pt x="2863546" y="42528"/>
                      <a:pt x="2857581" y="31080"/>
                      <a:pt x="2848080" y="22415"/>
                    </a:cubicBezTo>
                    <a:cubicBezTo>
                      <a:pt x="2838578" y="13751"/>
                      <a:pt x="2828302" y="9418"/>
                      <a:pt x="2817251" y="9418"/>
                    </a:cubicBezTo>
                    <a:cubicBezTo>
                      <a:pt x="2808712" y="9418"/>
                      <a:pt x="2801952" y="11700"/>
                      <a:pt x="2796971" y="16262"/>
                    </a:cubicBezTo>
                    <a:cubicBezTo>
                      <a:pt x="2791990" y="20825"/>
                      <a:pt x="2789499" y="26078"/>
                      <a:pt x="2789499" y="32022"/>
                    </a:cubicBezTo>
                    <a:cubicBezTo>
                      <a:pt x="2789499" y="35789"/>
                      <a:pt x="2790378" y="39138"/>
                      <a:pt x="2792136" y="42068"/>
                    </a:cubicBezTo>
                    <a:cubicBezTo>
                      <a:pt x="2794564" y="46002"/>
                      <a:pt x="2798457" y="49895"/>
                      <a:pt x="2803815" y="53746"/>
                    </a:cubicBezTo>
                    <a:cubicBezTo>
                      <a:pt x="2807749" y="56509"/>
                      <a:pt x="2816833" y="61406"/>
                      <a:pt x="2831064" y="68438"/>
                    </a:cubicBezTo>
                    <a:cubicBezTo>
                      <a:pt x="2850989" y="78233"/>
                      <a:pt x="2864425" y="87483"/>
                      <a:pt x="2871374" y="96190"/>
                    </a:cubicBezTo>
                    <a:cubicBezTo>
                      <a:pt x="2878238" y="104896"/>
                      <a:pt x="2881671" y="114858"/>
                      <a:pt x="2881671" y="126076"/>
                    </a:cubicBezTo>
                    <a:cubicBezTo>
                      <a:pt x="2881671" y="140308"/>
                      <a:pt x="2876124" y="152552"/>
                      <a:pt x="2865032" y="162807"/>
                    </a:cubicBezTo>
                    <a:cubicBezTo>
                      <a:pt x="2853940" y="173062"/>
                      <a:pt x="2839855" y="178189"/>
                      <a:pt x="2822776" y="178189"/>
                    </a:cubicBezTo>
                    <a:cubicBezTo>
                      <a:pt x="2817419" y="178189"/>
                      <a:pt x="2812354" y="177645"/>
                      <a:pt x="2807582" y="176557"/>
                    </a:cubicBezTo>
                    <a:cubicBezTo>
                      <a:pt x="2802810" y="175469"/>
                      <a:pt x="2796825" y="173418"/>
                      <a:pt x="2789625" y="170404"/>
                    </a:cubicBezTo>
                    <a:cubicBezTo>
                      <a:pt x="2785607" y="168730"/>
                      <a:pt x="2782300" y="167892"/>
                      <a:pt x="2779705" y="167892"/>
                    </a:cubicBezTo>
                    <a:cubicBezTo>
                      <a:pt x="2777528" y="167892"/>
                      <a:pt x="2775226" y="168730"/>
                      <a:pt x="2772798" y="170404"/>
                    </a:cubicBezTo>
                    <a:cubicBezTo>
                      <a:pt x="2770370" y="172078"/>
                      <a:pt x="2768403" y="174632"/>
                      <a:pt x="2766896" y="178064"/>
                    </a:cubicBezTo>
                    <a:lnTo>
                      <a:pt x="2762250" y="178064"/>
                    </a:lnTo>
                    <a:lnTo>
                      <a:pt x="2762250" y="113770"/>
                    </a:lnTo>
                    <a:lnTo>
                      <a:pt x="2766896" y="113770"/>
                    </a:lnTo>
                    <a:cubicBezTo>
                      <a:pt x="2770580" y="131853"/>
                      <a:pt x="2777675" y="145645"/>
                      <a:pt x="2788181" y="155147"/>
                    </a:cubicBezTo>
                    <a:cubicBezTo>
                      <a:pt x="2798687" y="164648"/>
                      <a:pt x="2810010" y="169399"/>
                      <a:pt x="2822149" y="169399"/>
                    </a:cubicBezTo>
                    <a:cubicBezTo>
                      <a:pt x="2831525" y="169399"/>
                      <a:pt x="2838996" y="166846"/>
                      <a:pt x="2844564" y="161739"/>
                    </a:cubicBezTo>
                    <a:cubicBezTo>
                      <a:pt x="2850131" y="156633"/>
                      <a:pt x="2852914" y="150689"/>
                      <a:pt x="2852914" y="143908"/>
                    </a:cubicBezTo>
                    <a:cubicBezTo>
                      <a:pt x="2852914" y="139889"/>
                      <a:pt x="2851847" y="135997"/>
                      <a:pt x="2849712" y="132229"/>
                    </a:cubicBezTo>
                    <a:cubicBezTo>
                      <a:pt x="2847577" y="128462"/>
                      <a:pt x="2844333" y="124883"/>
                      <a:pt x="2839980" y="121493"/>
                    </a:cubicBezTo>
                    <a:cubicBezTo>
                      <a:pt x="2835627" y="118102"/>
                      <a:pt x="2827925" y="113686"/>
                      <a:pt x="2816875" y="108245"/>
                    </a:cubicBezTo>
                    <a:cubicBezTo>
                      <a:pt x="2801387" y="100627"/>
                      <a:pt x="2790253" y="94139"/>
                      <a:pt x="2783472" y="88781"/>
                    </a:cubicBezTo>
                    <a:cubicBezTo>
                      <a:pt x="2776691" y="83423"/>
                      <a:pt x="2771480" y="77437"/>
                      <a:pt x="2767838" y="70824"/>
                    </a:cubicBezTo>
                    <a:cubicBezTo>
                      <a:pt x="2764196" y="64210"/>
                      <a:pt x="2762376" y="56927"/>
                      <a:pt x="2762376" y="48974"/>
                    </a:cubicBezTo>
                    <a:cubicBezTo>
                      <a:pt x="2762376" y="35412"/>
                      <a:pt x="2767357" y="23859"/>
                      <a:pt x="2777319" y="14316"/>
                    </a:cubicBezTo>
                    <a:cubicBezTo>
                      <a:pt x="2787281" y="4772"/>
                      <a:pt x="2799838" y="0"/>
                      <a:pt x="2814991" y="0"/>
                    </a:cubicBezTo>
                    <a:close/>
                    <a:moveTo>
                      <a:pt x="1252891" y="0"/>
                    </a:moveTo>
                    <a:cubicBezTo>
                      <a:pt x="1258416" y="0"/>
                      <a:pt x="1263774" y="670"/>
                      <a:pt x="1268964" y="2010"/>
                    </a:cubicBezTo>
                    <a:cubicBezTo>
                      <a:pt x="1272899" y="3014"/>
                      <a:pt x="1277692" y="4877"/>
                      <a:pt x="1283343" y="7598"/>
                    </a:cubicBezTo>
                    <a:cubicBezTo>
                      <a:pt x="1288993" y="10318"/>
                      <a:pt x="1292949" y="11679"/>
                      <a:pt x="1295209" y="11679"/>
                    </a:cubicBezTo>
                    <a:cubicBezTo>
                      <a:pt x="1297386" y="11679"/>
                      <a:pt x="1299102" y="11009"/>
                      <a:pt x="1300358" y="9670"/>
                    </a:cubicBezTo>
                    <a:cubicBezTo>
                      <a:pt x="1301614" y="8330"/>
                      <a:pt x="1302786" y="5107"/>
                      <a:pt x="1303874" y="0"/>
                    </a:cubicBezTo>
                    <a:lnTo>
                      <a:pt x="1307641" y="0"/>
                    </a:lnTo>
                    <a:lnTo>
                      <a:pt x="1309022" y="56760"/>
                    </a:lnTo>
                    <a:lnTo>
                      <a:pt x="1303874" y="56760"/>
                    </a:lnTo>
                    <a:cubicBezTo>
                      <a:pt x="1301446" y="42528"/>
                      <a:pt x="1295481" y="31080"/>
                      <a:pt x="1285980" y="22415"/>
                    </a:cubicBezTo>
                    <a:cubicBezTo>
                      <a:pt x="1276478" y="13751"/>
                      <a:pt x="1266202" y="9418"/>
                      <a:pt x="1255151" y="9418"/>
                    </a:cubicBezTo>
                    <a:cubicBezTo>
                      <a:pt x="1246612" y="9418"/>
                      <a:pt x="1239852" y="11700"/>
                      <a:pt x="1234871" y="16262"/>
                    </a:cubicBezTo>
                    <a:cubicBezTo>
                      <a:pt x="1229890" y="20825"/>
                      <a:pt x="1227400" y="26078"/>
                      <a:pt x="1227400" y="32022"/>
                    </a:cubicBezTo>
                    <a:cubicBezTo>
                      <a:pt x="1227400" y="35789"/>
                      <a:pt x="1228279" y="39138"/>
                      <a:pt x="1230037" y="42068"/>
                    </a:cubicBezTo>
                    <a:cubicBezTo>
                      <a:pt x="1232464" y="46002"/>
                      <a:pt x="1236357" y="49895"/>
                      <a:pt x="1241715" y="53746"/>
                    </a:cubicBezTo>
                    <a:cubicBezTo>
                      <a:pt x="1245650" y="56509"/>
                      <a:pt x="1254733" y="61406"/>
                      <a:pt x="1268964" y="68438"/>
                    </a:cubicBezTo>
                    <a:cubicBezTo>
                      <a:pt x="1288889" y="78233"/>
                      <a:pt x="1302325" y="87483"/>
                      <a:pt x="1309274" y="96190"/>
                    </a:cubicBezTo>
                    <a:cubicBezTo>
                      <a:pt x="1316138" y="104896"/>
                      <a:pt x="1319571" y="114858"/>
                      <a:pt x="1319571" y="126076"/>
                    </a:cubicBezTo>
                    <a:cubicBezTo>
                      <a:pt x="1319571" y="140308"/>
                      <a:pt x="1314024" y="152552"/>
                      <a:pt x="1302932" y="162807"/>
                    </a:cubicBezTo>
                    <a:cubicBezTo>
                      <a:pt x="1291840" y="173062"/>
                      <a:pt x="1277755" y="178189"/>
                      <a:pt x="1260677" y="178189"/>
                    </a:cubicBezTo>
                    <a:cubicBezTo>
                      <a:pt x="1255319" y="178189"/>
                      <a:pt x="1250254" y="177645"/>
                      <a:pt x="1245482" y="176557"/>
                    </a:cubicBezTo>
                    <a:cubicBezTo>
                      <a:pt x="1240710" y="175469"/>
                      <a:pt x="1234725" y="173418"/>
                      <a:pt x="1227525" y="170404"/>
                    </a:cubicBezTo>
                    <a:cubicBezTo>
                      <a:pt x="1223507" y="168730"/>
                      <a:pt x="1220200" y="167892"/>
                      <a:pt x="1217605" y="167892"/>
                    </a:cubicBezTo>
                    <a:cubicBezTo>
                      <a:pt x="1215428" y="167892"/>
                      <a:pt x="1213126" y="168730"/>
                      <a:pt x="1210698" y="170404"/>
                    </a:cubicBezTo>
                    <a:cubicBezTo>
                      <a:pt x="1208270" y="172078"/>
                      <a:pt x="1206303" y="174632"/>
                      <a:pt x="1204796" y="178064"/>
                    </a:cubicBezTo>
                    <a:lnTo>
                      <a:pt x="1200150" y="178064"/>
                    </a:lnTo>
                    <a:lnTo>
                      <a:pt x="1200150" y="113770"/>
                    </a:lnTo>
                    <a:lnTo>
                      <a:pt x="1204796" y="113770"/>
                    </a:lnTo>
                    <a:cubicBezTo>
                      <a:pt x="1208480" y="131853"/>
                      <a:pt x="1215575" y="145645"/>
                      <a:pt x="1226081" y="155147"/>
                    </a:cubicBezTo>
                    <a:cubicBezTo>
                      <a:pt x="1236587" y="164648"/>
                      <a:pt x="1247910" y="169399"/>
                      <a:pt x="1260049" y="169399"/>
                    </a:cubicBezTo>
                    <a:cubicBezTo>
                      <a:pt x="1269425" y="169399"/>
                      <a:pt x="1276896" y="166846"/>
                      <a:pt x="1282464" y="161739"/>
                    </a:cubicBezTo>
                    <a:cubicBezTo>
                      <a:pt x="1288031" y="156633"/>
                      <a:pt x="1290814" y="150689"/>
                      <a:pt x="1290814" y="143908"/>
                    </a:cubicBezTo>
                    <a:cubicBezTo>
                      <a:pt x="1290814" y="139889"/>
                      <a:pt x="1289747" y="135997"/>
                      <a:pt x="1287612" y="132229"/>
                    </a:cubicBezTo>
                    <a:cubicBezTo>
                      <a:pt x="1285477" y="128462"/>
                      <a:pt x="1282233" y="124883"/>
                      <a:pt x="1277880" y="121493"/>
                    </a:cubicBezTo>
                    <a:cubicBezTo>
                      <a:pt x="1273527" y="118102"/>
                      <a:pt x="1265825" y="113686"/>
                      <a:pt x="1254775" y="108245"/>
                    </a:cubicBezTo>
                    <a:cubicBezTo>
                      <a:pt x="1239287" y="100627"/>
                      <a:pt x="1228153" y="94139"/>
                      <a:pt x="1221372" y="88781"/>
                    </a:cubicBezTo>
                    <a:cubicBezTo>
                      <a:pt x="1214591" y="83423"/>
                      <a:pt x="1209380" y="77437"/>
                      <a:pt x="1205738" y="70824"/>
                    </a:cubicBezTo>
                    <a:cubicBezTo>
                      <a:pt x="1202096" y="64210"/>
                      <a:pt x="1200276" y="56927"/>
                      <a:pt x="1200276" y="48974"/>
                    </a:cubicBezTo>
                    <a:cubicBezTo>
                      <a:pt x="1200276" y="35412"/>
                      <a:pt x="1205257" y="23859"/>
                      <a:pt x="1215219" y="14316"/>
                    </a:cubicBezTo>
                    <a:cubicBezTo>
                      <a:pt x="1225181" y="4772"/>
                      <a:pt x="1237738" y="0"/>
                      <a:pt x="1252891" y="0"/>
                    </a:cubicBezTo>
                    <a:close/>
                    <a:moveTo>
                      <a:pt x="52741" y="0"/>
                    </a:moveTo>
                    <a:cubicBezTo>
                      <a:pt x="58266" y="0"/>
                      <a:pt x="63624" y="670"/>
                      <a:pt x="68814" y="2010"/>
                    </a:cubicBezTo>
                    <a:cubicBezTo>
                      <a:pt x="72749" y="3014"/>
                      <a:pt x="77542" y="4877"/>
                      <a:pt x="83193" y="7598"/>
                    </a:cubicBezTo>
                    <a:cubicBezTo>
                      <a:pt x="88843" y="10318"/>
                      <a:pt x="92799" y="11679"/>
                      <a:pt x="95059" y="11679"/>
                    </a:cubicBezTo>
                    <a:cubicBezTo>
                      <a:pt x="97236" y="11679"/>
                      <a:pt x="98952" y="11009"/>
                      <a:pt x="100208" y="9670"/>
                    </a:cubicBezTo>
                    <a:cubicBezTo>
                      <a:pt x="101464" y="8330"/>
                      <a:pt x="102636" y="5107"/>
                      <a:pt x="103724" y="0"/>
                    </a:cubicBezTo>
                    <a:lnTo>
                      <a:pt x="107491" y="0"/>
                    </a:lnTo>
                    <a:lnTo>
                      <a:pt x="108872" y="56760"/>
                    </a:lnTo>
                    <a:lnTo>
                      <a:pt x="103724" y="56760"/>
                    </a:lnTo>
                    <a:cubicBezTo>
                      <a:pt x="101296" y="42528"/>
                      <a:pt x="95331" y="31080"/>
                      <a:pt x="85830" y="22415"/>
                    </a:cubicBezTo>
                    <a:cubicBezTo>
                      <a:pt x="76328" y="13751"/>
                      <a:pt x="66052" y="9418"/>
                      <a:pt x="55001" y="9418"/>
                    </a:cubicBezTo>
                    <a:cubicBezTo>
                      <a:pt x="46462" y="9418"/>
                      <a:pt x="39702" y="11700"/>
                      <a:pt x="34721" y="16262"/>
                    </a:cubicBezTo>
                    <a:cubicBezTo>
                      <a:pt x="29740" y="20825"/>
                      <a:pt x="27249" y="26078"/>
                      <a:pt x="27249" y="32022"/>
                    </a:cubicBezTo>
                    <a:cubicBezTo>
                      <a:pt x="27249" y="35789"/>
                      <a:pt x="28128" y="39138"/>
                      <a:pt x="29887" y="42068"/>
                    </a:cubicBezTo>
                    <a:cubicBezTo>
                      <a:pt x="32314" y="46002"/>
                      <a:pt x="36207" y="49895"/>
                      <a:pt x="41565" y="53746"/>
                    </a:cubicBezTo>
                    <a:cubicBezTo>
                      <a:pt x="45500" y="56509"/>
                      <a:pt x="54583" y="61406"/>
                      <a:pt x="68814" y="68438"/>
                    </a:cubicBezTo>
                    <a:cubicBezTo>
                      <a:pt x="88739" y="78233"/>
                      <a:pt x="102175" y="87483"/>
                      <a:pt x="109124" y="96190"/>
                    </a:cubicBezTo>
                    <a:cubicBezTo>
                      <a:pt x="115988" y="104896"/>
                      <a:pt x="119421" y="114858"/>
                      <a:pt x="119421" y="126076"/>
                    </a:cubicBezTo>
                    <a:cubicBezTo>
                      <a:pt x="119421" y="140308"/>
                      <a:pt x="113874" y="152552"/>
                      <a:pt x="102782" y="162807"/>
                    </a:cubicBezTo>
                    <a:cubicBezTo>
                      <a:pt x="91690" y="173062"/>
                      <a:pt x="77605" y="178189"/>
                      <a:pt x="60526" y="178189"/>
                    </a:cubicBezTo>
                    <a:cubicBezTo>
                      <a:pt x="55169" y="178189"/>
                      <a:pt x="50104" y="177645"/>
                      <a:pt x="45332" y="176557"/>
                    </a:cubicBezTo>
                    <a:cubicBezTo>
                      <a:pt x="40560" y="175469"/>
                      <a:pt x="34575" y="173418"/>
                      <a:pt x="27375" y="170404"/>
                    </a:cubicBezTo>
                    <a:cubicBezTo>
                      <a:pt x="23357" y="168730"/>
                      <a:pt x="20050" y="167892"/>
                      <a:pt x="17455" y="167892"/>
                    </a:cubicBezTo>
                    <a:cubicBezTo>
                      <a:pt x="15278" y="167892"/>
                      <a:pt x="12976" y="168730"/>
                      <a:pt x="10548" y="170404"/>
                    </a:cubicBezTo>
                    <a:cubicBezTo>
                      <a:pt x="8120" y="172078"/>
                      <a:pt x="6153" y="174632"/>
                      <a:pt x="4646" y="178064"/>
                    </a:cubicBezTo>
                    <a:lnTo>
                      <a:pt x="0" y="178064"/>
                    </a:lnTo>
                    <a:lnTo>
                      <a:pt x="0" y="113770"/>
                    </a:lnTo>
                    <a:lnTo>
                      <a:pt x="4646" y="113770"/>
                    </a:lnTo>
                    <a:cubicBezTo>
                      <a:pt x="8330" y="131853"/>
                      <a:pt x="15425" y="145645"/>
                      <a:pt x="25931" y="155147"/>
                    </a:cubicBezTo>
                    <a:cubicBezTo>
                      <a:pt x="36437" y="164648"/>
                      <a:pt x="47760" y="169399"/>
                      <a:pt x="59899" y="169399"/>
                    </a:cubicBezTo>
                    <a:cubicBezTo>
                      <a:pt x="69275" y="169399"/>
                      <a:pt x="76746" y="166846"/>
                      <a:pt x="82313" y="161739"/>
                    </a:cubicBezTo>
                    <a:cubicBezTo>
                      <a:pt x="87881" y="156633"/>
                      <a:pt x="90664" y="150689"/>
                      <a:pt x="90664" y="143908"/>
                    </a:cubicBezTo>
                    <a:cubicBezTo>
                      <a:pt x="90664" y="139889"/>
                      <a:pt x="89597" y="135997"/>
                      <a:pt x="87462" y="132229"/>
                    </a:cubicBezTo>
                    <a:cubicBezTo>
                      <a:pt x="85327" y="128462"/>
                      <a:pt x="82083" y="124883"/>
                      <a:pt x="77730" y="121493"/>
                    </a:cubicBezTo>
                    <a:cubicBezTo>
                      <a:pt x="73377" y="118102"/>
                      <a:pt x="65675" y="113686"/>
                      <a:pt x="54625" y="108245"/>
                    </a:cubicBezTo>
                    <a:cubicBezTo>
                      <a:pt x="39137" y="100627"/>
                      <a:pt x="28003" y="94139"/>
                      <a:pt x="21222" y="88781"/>
                    </a:cubicBezTo>
                    <a:cubicBezTo>
                      <a:pt x="14441" y="83423"/>
                      <a:pt x="9230" y="77437"/>
                      <a:pt x="5588" y="70824"/>
                    </a:cubicBezTo>
                    <a:cubicBezTo>
                      <a:pt x="1946" y="64210"/>
                      <a:pt x="126" y="56927"/>
                      <a:pt x="126" y="48974"/>
                    </a:cubicBezTo>
                    <a:cubicBezTo>
                      <a:pt x="126" y="35412"/>
                      <a:pt x="5107" y="23859"/>
                      <a:pt x="15069" y="14316"/>
                    </a:cubicBezTo>
                    <a:cubicBezTo>
                      <a:pt x="25031" y="4772"/>
                      <a:pt x="37588" y="0"/>
                      <a:pt x="52741" y="0"/>
                    </a:cubicBezTo>
                    <a:close/>
                  </a:path>
                </a:pathLst>
              </a:custGeom>
              <a:solidFill>
                <a:srgbClr val="024925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noAutofit/>
              </a:bodyPr>
              <a:lstStyle/>
              <a:p>
                <a:endParaRPr lang="zh-CN" altLang="en-US" sz="2000" b="1" dirty="0">
                  <a:solidFill>
                    <a:srgbClr val="024925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38" name="组合 137"/>
            <p:cNvGrpSpPr/>
            <p:nvPr userDrawn="1"/>
          </p:nvGrpSpPr>
          <p:grpSpPr>
            <a:xfrm>
              <a:off x="6542864" y="-2423820"/>
              <a:ext cx="598107" cy="617354"/>
              <a:chOff x="3530952" y="832111"/>
              <a:chExt cx="5130095" cy="5194730"/>
            </a:xfrm>
          </p:grpSpPr>
          <p:sp>
            <p:nvSpPr>
              <p:cNvPr id="139" name="任意多边形: 形状 138"/>
              <p:cNvSpPr/>
              <p:nvPr/>
            </p:nvSpPr>
            <p:spPr>
              <a:xfrm>
                <a:off x="3530952" y="832111"/>
                <a:ext cx="5130095" cy="5194730"/>
              </a:xfrm>
              <a:custGeom>
                <a:avLst/>
                <a:gdLst>
                  <a:gd name="connsiteX0" fmla="*/ 2726055 w 5130095"/>
                  <a:gd name="connsiteY0" fmla="*/ 6668 h 5194730"/>
                  <a:gd name="connsiteX1" fmla="*/ 3645218 w 5130095"/>
                  <a:gd name="connsiteY1" fmla="*/ 239078 h 5194730"/>
                  <a:gd name="connsiteX2" fmla="*/ 4469130 w 5130095"/>
                  <a:gd name="connsiteY2" fmla="*/ 853440 h 5194730"/>
                  <a:gd name="connsiteX3" fmla="*/ 4866323 w 5130095"/>
                  <a:gd name="connsiteY3" fmla="*/ 1443038 h 5194730"/>
                  <a:gd name="connsiteX4" fmla="*/ 5113020 w 5130095"/>
                  <a:gd name="connsiteY4" fmla="*/ 2290763 h 5194730"/>
                  <a:gd name="connsiteX5" fmla="*/ 5059680 w 5130095"/>
                  <a:gd name="connsiteY5" fmla="*/ 3206115 h 5194730"/>
                  <a:gd name="connsiteX6" fmla="*/ 4845368 w 5130095"/>
                  <a:gd name="connsiteY6" fmla="*/ 3786188 h 5194730"/>
                  <a:gd name="connsiteX7" fmla="*/ 4419600 w 5130095"/>
                  <a:gd name="connsiteY7" fmla="*/ 4389120 h 5194730"/>
                  <a:gd name="connsiteX8" fmla="*/ 3589973 w 5130095"/>
                  <a:gd name="connsiteY8" fmla="*/ 4976813 h 5194730"/>
                  <a:gd name="connsiteX9" fmla="*/ 2717483 w 5130095"/>
                  <a:gd name="connsiteY9" fmla="*/ 5189220 h 5194730"/>
                  <a:gd name="connsiteX10" fmla="*/ 1597343 w 5130095"/>
                  <a:gd name="connsiteY10" fmla="*/ 5002530 h 5194730"/>
                  <a:gd name="connsiteX11" fmla="*/ 749618 w 5130095"/>
                  <a:gd name="connsiteY11" fmla="*/ 4428173 h 5194730"/>
                  <a:gd name="connsiteX12" fmla="*/ 311468 w 5130095"/>
                  <a:gd name="connsiteY12" fmla="*/ 3833813 h 5194730"/>
                  <a:gd name="connsiteX13" fmla="*/ 32385 w 5130095"/>
                  <a:gd name="connsiteY13" fmla="*/ 2976563 h 5194730"/>
                  <a:gd name="connsiteX14" fmla="*/ 7620 w 5130095"/>
                  <a:gd name="connsiteY14" fmla="*/ 2651760 h 5194730"/>
                  <a:gd name="connsiteX15" fmla="*/ 0 w 5130095"/>
                  <a:gd name="connsiteY15" fmla="*/ 2627948 h 5194730"/>
                  <a:gd name="connsiteX16" fmla="*/ 0 w 5130095"/>
                  <a:gd name="connsiteY16" fmla="*/ 2557463 h 5194730"/>
                  <a:gd name="connsiteX17" fmla="*/ 6668 w 5130095"/>
                  <a:gd name="connsiteY17" fmla="*/ 2397443 h 5194730"/>
                  <a:gd name="connsiteX18" fmla="*/ 99060 w 5130095"/>
                  <a:gd name="connsiteY18" fmla="*/ 1864043 h 5194730"/>
                  <a:gd name="connsiteX19" fmla="*/ 617220 w 5130095"/>
                  <a:gd name="connsiteY19" fmla="*/ 897255 h 5194730"/>
                  <a:gd name="connsiteX20" fmla="*/ 1347788 w 5130095"/>
                  <a:gd name="connsiteY20" fmla="*/ 302895 h 5194730"/>
                  <a:gd name="connsiteX21" fmla="*/ 1934528 w 5130095"/>
                  <a:gd name="connsiteY21" fmla="*/ 70485 h 5194730"/>
                  <a:gd name="connsiteX22" fmla="*/ 2404110 w 5130095"/>
                  <a:gd name="connsiteY22" fmla="*/ 3810 h 5194730"/>
                  <a:gd name="connsiteX23" fmla="*/ 2442210 w 5130095"/>
                  <a:gd name="connsiteY23" fmla="*/ 0 h 5194730"/>
                  <a:gd name="connsiteX24" fmla="*/ 2630805 w 5130095"/>
                  <a:gd name="connsiteY24" fmla="*/ 0 h 5194730"/>
                  <a:gd name="connsiteX25" fmla="*/ 2726055 w 5130095"/>
                  <a:gd name="connsiteY25" fmla="*/ 6668 h 5194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130095" h="5194730">
                    <a:moveTo>
                      <a:pt x="2726055" y="6668"/>
                    </a:moveTo>
                    <a:cubicBezTo>
                      <a:pt x="3048000" y="23813"/>
                      <a:pt x="3356610" y="98108"/>
                      <a:pt x="3645218" y="239078"/>
                    </a:cubicBezTo>
                    <a:cubicBezTo>
                      <a:pt x="3957638" y="391478"/>
                      <a:pt x="4239578" y="589598"/>
                      <a:pt x="4469130" y="853440"/>
                    </a:cubicBezTo>
                    <a:cubicBezTo>
                      <a:pt x="4625340" y="1033463"/>
                      <a:pt x="4764405" y="1226820"/>
                      <a:pt x="4866323" y="1443038"/>
                    </a:cubicBezTo>
                    <a:cubicBezTo>
                      <a:pt x="4993005" y="1712595"/>
                      <a:pt x="5079683" y="1993583"/>
                      <a:pt x="5113020" y="2290763"/>
                    </a:cubicBezTo>
                    <a:cubicBezTo>
                      <a:pt x="5147310" y="2599373"/>
                      <a:pt x="5130165" y="2904173"/>
                      <a:pt x="5059680" y="3206115"/>
                    </a:cubicBezTo>
                    <a:cubicBezTo>
                      <a:pt x="5012055" y="3408998"/>
                      <a:pt x="4937760" y="3599498"/>
                      <a:pt x="4845368" y="3786188"/>
                    </a:cubicBezTo>
                    <a:cubicBezTo>
                      <a:pt x="4734878" y="4010025"/>
                      <a:pt x="4586288" y="4205288"/>
                      <a:pt x="4419600" y="4389120"/>
                    </a:cubicBezTo>
                    <a:cubicBezTo>
                      <a:pt x="4186238" y="4646295"/>
                      <a:pt x="3902393" y="4830128"/>
                      <a:pt x="3589973" y="4976813"/>
                    </a:cubicBezTo>
                    <a:cubicBezTo>
                      <a:pt x="3312795" y="5107305"/>
                      <a:pt x="3021330" y="5170170"/>
                      <a:pt x="2717483" y="5189220"/>
                    </a:cubicBezTo>
                    <a:cubicBezTo>
                      <a:pt x="2329815" y="5213985"/>
                      <a:pt x="1953578" y="5155883"/>
                      <a:pt x="1597343" y="5002530"/>
                    </a:cubicBezTo>
                    <a:cubicBezTo>
                      <a:pt x="1280160" y="4865370"/>
                      <a:pt x="989648" y="4681538"/>
                      <a:pt x="749618" y="4428173"/>
                    </a:cubicBezTo>
                    <a:cubicBezTo>
                      <a:pt x="579120" y="4248150"/>
                      <a:pt x="426720" y="4053840"/>
                      <a:pt x="311468" y="3833813"/>
                    </a:cubicBezTo>
                    <a:cubicBezTo>
                      <a:pt x="170498" y="3564255"/>
                      <a:pt x="74295" y="3278505"/>
                      <a:pt x="32385" y="2976563"/>
                    </a:cubicBezTo>
                    <a:cubicBezTo>
                      <a:pt x="17145" y="2868930"/>
                      <a:pt x="5715" y="2761298"/>
                      <a:pt x="7620" y="2651760"/>
                    </a:cubicBezTo>
                    <a:cubicBezTo>
                      <a:pt x="7620" y="2644140"/>
                      <a:pt x="12383" y="2632710"/>
                      <a:pt x="0" y="2627948"/>
                    </a:cubicBezTo>
                    <a:cubicBezTo>
                      <a:pt x="0" y="2604135"/>
                      <a:pt x="0" y="2580323"/>
                      <a:pt x="0" y="2557463"/>
                    </a:cubicBezTo>
                    <a:cubicBezTo>
                      <a:pt x="10478" y="2505075"/>
                      <a:pt x="4763" y="2450783"/>
                      <a:pt x="6668" y="2397443"/>
                    </a:cubicBezTo>
                    <a:cubicBezTo>
                      <a:pt x="14288" y="2215515"/>
                      <a:pt x="48578" y="2038350"/>
                      <a:pt x="99060" y="1864043"/>
                    </a:cubicBezTo>
                    <a:cubicBezTo>
                      <a:pt x="202883" y="1504950"/>
                      <a:pt x="377190" y="1184910"/>
                      <a:pt x="617220" y="897255"/>
                    </a:cubicBezTo>
                    <a:cubicBezTo>
                      <a:pt x="822960" y="651510"/>
                      <a:pt x="1071563" y="461963"/>
                      <a:pt x="1347788" y="302895"/>
                    </a:cubicBezTo>
                    <a:cubicBezTo>
                      <a:pt x="1534478" y="199073"/>
                      <a:pt x="1729740" y="122873"/>
                      <a:pt x="1934528" y="70485"/>
                    </a:cubicBezTo>
                    <a:cubicBezTo>
                      <a:pt x="2088833" y="30480"/>
                      <a:pt x="2244090" y="3810"/>
                      <a:pt x="2404110" y="3810"/>
                    </a:cubicBezTo>
                    <a:cubicBezTo>
                      <a:pt x="2416493" y="3810"/>
                      <a:pt x="2429828" y="7620"/>
                      <a:pt x="2442210" y="0"/>
                    </a:cubicBezTo>
                    <a:cubicBezTo>
                      <a:pt x="2505075" y="0"/>
                      <a:pt x="2567940" y="0"/>
                      <a:pt x="2630805" y="0"/>
                    </a:cubicBezTo>
                    <a:cubicBezTo>
                      <a:pt x="2662238" y="10478"/>
                      <a:pt x="2694623" y="-1905"/>
                      <a:pt x="2726055" y="6668"/>
                    </a:cubicBezTo>
                    <a:close/>
                  </a:path>
                </a:pathLst>
              </a:custGeom>
              <a:solidFill>
                <a:srgbClr val="0158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0" name="任意多边形: 形状 139"/>
              <p:cNvSpPr/>
              <p:nvPr/>
            </p:nvSpPr>
            <p:spPr>
              <a:xfrm>
                <a:off x="6161757" y="832111"/>
                <a:ext cx="95250" cy="8747"/>
              </a:xfrm>
              <a:custGeom>
                <a:avLst/>
                <a:gdLst>
                  <a:gd name="connsiteX0" fmla="*/ 95250 w 95250"/>
                  <a:gd name="connsiteY0" fmla="*/ 6668 h 8747"/>
                  <a:gd name="connsiteX1" fmla="*/ 0 w 95250"/>
                  <a:gd name="connsiteY1" fmla="*/ 0 h 8747"/>
                  <a:gd name="connsiteX2" fmla="*/ 94297 w 95250"/>
                  <a:gd name="connsiteY2" fmla="*/ 0 h 8747"/>
                  <a:gd name="connsiteX3" fmla="*/ 95250 w 95250"/>
                  <a:gd name="connsiteY3" fmla="*/ 6668 h 8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250" h="8747">
                    <a:moveTo>
                      <a:pt x="95250" y="6668"/>
                    </a:moveTo>
                    <a:cubicBezTo>
                      <a:pt x="62865" y="8573"/>
                      <a:pt x="31432" y="12383"/>
                      <a:pt x="0" y="0"/>
                    </a:cubicBezTo>
                    <a:cubicBezTo>
                      <a:pt x="31432" y="0"/>
                      <a:pt x="62865" y="0"/>
                      <a:pt x="94297" y="0"/>
                    </a:cubicBezTo>
                    <a:cubicBezTo>
                      <a:pt x="94297" y="1905"/>
                      <a:pt x="94297" y="4763"/>
                      <a:pt x="95250" y="6668"/>
                    </a:cubicBezTo>
                    <a:close/>
                  </a:path>
                </a:pathLst>
              </a:custGeom>
              <a:solidFill>
                <a:srgbClr val="7BBA9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1" name="任意多边形: 形状 140"/>
              <p:cNvSpPr/>
              <p:nvPr/>
            </p:nvSpPr>
            <p:spPr>
              <a:xfrm>
                <a:off x="3704703" y="1002588"/>
                <a:ext cx="4787911" cy="4856818"/>
              </a:xfrm>
              <a:custGeom>
                <a:avLst/>
                <a:gdLst>
                  <a:gd name="connsiteX0" fmla="*/ 4787821 w 4787911"/>
                  <a:gd name="connsiteY0" fmla="*/ 2426991 h 4856818"/>
                  <a:gd name="connsiteX1" fmla="*/ 4478259 w 4787911"/>
                  <a:gd name="connsiteY1" fmla="*/ 3619521 h 4856818"/>
                  <a:gd name="connsiteX2" fmla="*/ 4008676 w 4787911"/>
                  <a:gd name="connsiteY2" fmla="*/ 4213881 h 4856818"/>
                  <a:gd name="connsiteX3" fmla="*/ 2869486 w 4787911"/>
                  <a:gd name="connsiteY3" fmla="*/ 4802526 h 4856818"/>
                  <a:gd name="connsiteX4" fmla="*/ 2390379 w 4787911"/>
                  <a:gd name="connsiteY4" fmla="*/ 4856819 h 4856818"/>
                  <a:gd name="connsiteX5" fmla="*/ 2022714 w 4787911"/>
                  <a:gd name="connsiteY5" fmla="*/ 4827291 h 4856818"/>
                  <a:gd name="connsiteX6" fmla="*/ 853044 w 4787911"/>
                  <a:gd name="connsiteY6" fmla="*/ 4283414 h 4856818"/>
                  <a:gd name="connsiteX7" fmla="*/ 356791 w 4787911"/>
                  <a:gd name="connsiteY7" fmla="*/ 3701436 h 4856818"/>
                  <a:gd name="connsiteX8" fmla="*/ 30084 w 4787911"/>
                  <a:gd name="connsiteY8" fmla="*/ 2807991 h 4856818"/>
                  <a:gd name="connsiteX9" fmla="*/ 16749 w 4787911"/>
                  <a:gd name="connsiteY9" fmla="*/ 2138384 h 4856818"/>
                  <a:gd name="connsiteX10" fmla="*/ 254874 w 4787911"/>
                  <a:gd name="connsiteY10" fmla="*/ 1339236 h 4856818"/>
                  <a:gd name="connsiteX11" fmla="*/ 682546 w 4787911"/>
                  <a:gd name="connsiteY11" fmla="*/ 735351 h 4856818"/>
                  <a:gd name="connsiteX12" fmla="*/ 1627426 w 4787911"/>
                  <a:gd name="connsiteY12" fmla="*/ 131466 h 4856818"/>
                  <a:gd name="connsiteX13" fmla="*/ 2417049 w 4787911"/>
                  <a:gd name="connsiteY13" fmla="*/ 21 h 4856818"/>
                  <a:gd name="connsiteX14" fmla="*/ 3103801 w 4787911"/>
                  <a:gd name="connsiteY14" fmla="*/ 107653 h 4856818"/>
                  <a:gd name="connsiteX15" fmla="*/ 4052491 w 4787911"/>
                  <a:gd name="connsiteY15" fmla="*/ 675344 h 4856818"/>
                  <a:gd name="connsiteX16" fmla="*/ 4504929 w 4787911"/>
                  <a:gd name="connsiteY16" fmla="*/ 1278276 h 4856818"/>
                  <a:gd name="connsiteX17" fmla="*/ 4772582 w 4787911"/>
                  <a:gd name="connsiteY17" fmla="*/ 2152671 h 4856818"/>
                  <a:gd name="connsiteX18" fmla="*/ 4787821 w 4787911"/>
                  <a:gd name="connsiteY18" fmla="*/ 2426991 h 48568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787911" h="4856818">
                    <a:moveTo>
                      <a:pt x="4787821" y="2426991"/>
                    </a:moveTo>
                    <a:cubicBezTo>
                      <a:pt x="4786869" y="2850853"/>
                      <a:pt x="4683999" y="3248046"/>
                      <a:pt x="4478259" y="3619521"/>
                    </a:cubicBezTo>
                    <a:cubicBezTo>
                      <a:pt x="4353482" y="3844311"/>
                      <a:pt x="4193461" y="4037669"/>
                      <a:pt x="4008676" y="4213881"/>
                    </a:cubicBezTo>
                    <a:cubicBezTo>
                      <a:pt x="3686732" y="4522491"/>
                      <a:pt x="3300969" y="4704419"/>
                      <a:pt x="2869486" y="4802526"/>
                    </a:cubicBezTo>
                    <a:cubicBezTo>
                      <a:pt x="2711371" y="4838721"/>
                      <a:pt x="2551351" y="4856819"/>
                      <a:pt x="2390379" y="4856819"/>
                    </a:cubicBezTo>
                    <a:cubicBezTo>
                      <a:pt x="2267507" y="4856819"/>
                      <a:pt x="2143681" y="4851104"/>
                      <a:pt x="2022714" y="4827291"/>
                    </a:cubicBezTo>
                    <a:cubicBezTo>
                      <a:pt x="1589326" y="4739661"/>
                      <a:pt x="1189276" y="4577736"/>
                      <a:pt x="853044" y="4283414"/>
                    </a:cubicBezTo>
                    <a:cubicBezTo>
                      <a:pt x="659686" y="4113869"/>
                      <a:pt x="488236" y="3923369"/>
                      <a:pt x="356791" y="3701436"/>
                    </a:cubicBezTo>
                    <a:cubicBezTo>
                      <a:pt x="192009" y="3424259"/>
                      <a:pt x="79614" y="3128031"/>
                      <a:pt x="30084" y="2807991"/>
                    </a:cubicBezTo>
                    <a:cubicBezTo>
                      <a:pt x="-4206" y="2585106"/>
                      <a:pt x="-9921" y="2362221"/>
                      <a:pt x="16749" y="2138384"/>
                    </a:cubicBezTo>
                    <a:cubicBezTo>
                      <a:pt x="50086" y="1858349"/>
                      <a:pt x="131049" y="1593554"/>
                      <a:pt x="254874" y="1339236"/>
                    </a:cubicBezTo>
                    <a:cubicBezTo>
                      <a:pt x="366316" y="1114446"/>
                      <a:pt x="513001" y="917279"/>
                      <a:pt x="682546" y="735351"/>
                    </a:cubicBezTo>
                    <a:cubicBezTo>
                      <a:pt x="946389" y="452458"/>
                      <a:pt x="1267381" y="264816"/>
                      <a:pt x="1627426" y="131466"/>
                    </a:cubicBezTo>
                    <a:cubicBezTo>
                      <a:pt x="1883649" y="36216"/>
                      <a:pt x="2146539" y="21"/>
                      <a:pt x="2417049" y="21"/>
                    </a:cubicBezTo>
                    <a:cubicBezTo>
                      <a:pt x="2651364" y="-932"/>
                      <a:pt x="2881869" y="30501"/>
                      <a:pt x="3103801" y="107653"/>
                    </a:cubicBezTo>
                    <a:cubicBezTo>
                      <a:pt x="3459084" y="230526"/>
                      <a:pt x="3784839" y="407691"/>
                      <a:pt x="4052491" y="675344"/>
                    </a:cubicBezTo>
                    <a:cubicBezTo>
                      <a:pt x="4231561" y="854413"/>
                      <a:pt x="4388724" y="1051581"/>
                      <a:pt x="4504929" y="1278276"/>
                    </a:cubicBezTo>
                    <a:cubicBezTo>
                      <a:pt x="4645899" y="1553549"/>
                      <a:pt x="4741149" y="1843109"/>
                      <a:pt x="4772582" y="2152671"/>
                    </a:cubicBezTo>
                    <a:cubicBezTo>
                      <a:pt x="4782107" y="2244111"/>
                      <a:pt x="4788774" y="2335551"/>
                      <a:pt x="4787821" y="2426991"/>
                    </a:cubicBezTo>
                    <a:close/>
                  </a:path>
                </a:pathLst>
              </a:custGeom>
              <a:solidFill>
                <a:srgbClr val="FBFD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2" name="任意多边形: 形状 141"/>
              <p:cNvSpPr/>
              <p:nvPr/>
            </p:nvSpPr>
            <p:spPr>
              <a:xfrm>
                <a:off x="3776700" y="1073030"/>
                <a:ext cx="4645001" cy="4707679"/>
              </a:xfrm>
              <a:custGeom>
                <a:avLst/>
                <a:gdLst>
                  <a:gd name="connsiteX0" fmla="*/ 2283140 w 4645001"/>
                  <a:gd name="connsiteY0" fmla="*/ 64 h 4707679"/>
                  <a:gd name="connsiteX1" fmla="*/ 2770820 w 4645001"/>
                  <a:gd name="connsiteY1" fmla="*/ 42926 h 4707679"/>
                  <a:gd name="connsiteX2" fmla="*/ 3891912 w 4645001"/>
                  <a:gd name="connsiteY2" fmla="*/ 618236 h 4707679"/>
                  <a:gd name="connsiteX3" fmla="*/ 4348160 w 4645001"/>
                  <a:gd name="connsiteY3" fmla="*/ 1199261 h 4707679"/>
                  <a:gd name="connsiteX4" fmla="*/ 4622480 w 4645001"/>
                  <a:gd name="connsiteY4" fmla="*/ 2023174 h 4707679"/>
                  <a:gd name="connsiteX5" fmla="*/ 4566283 w 4645001"/>
                  <a:gd name="connsiteY5" fmla="*/ 2969006 h 4707679"/>
                  <a:gd name="connsiteX6" fmla="*/ 4322443 w 4645001"/>
                  <a:gd name="connsiteY6" fmla="*/ 3555746 h 4707679"/>
                  <a:gd name="connsiteX7" fmla="*/ 3827143 w 4645001"/>
                  <a:gd name="connsiteY7" fmla="*/ 4149154 h 4707679"/>
                  <a:gd name="connsiteX8" fmla="*/ 2726053 w 4645001"/>
                  <a:gd name="connsiteY8" fmla="*/ 4671124 h 4707679"/>
                  <a:gd name="connsiteX9" fmla="*/ 921065 w 4645001"/>
                  <a:gd name="connsiteY9" fmla="*/ 4235831 h 4707679"/>
                  <a:gd name="connsiteX10" fmla="*/ 348612 w 4645001"/>
                  <a:gd name="connsiteY10" fmla="*/ 3601466 h 4707679"/>
                  <a:gd name="connsiteX11" fmla="*/ 94295 w 4645001"/>
                  <a:gd name="connsiteY11" fmla="*/ 3027109 h 4707679"/>
                  <a:gd name="connsiteX12" fmla="*/ 4760 w 4645001"/>
                  <a:gd name="connsiteY12" fmla="*/ 2212721 h 4707679"/>
                  <a:gd name="connsiteX13" fmla="*/ 270507 w 4645001"/>
                  <a:gd name="connsiteY13" fmla="*/ 1253554 h 4707679"/>
                  <a:gd name="connsiteX14" fmla="*/ 701038 w 4645001"/>
                  <a:gd name="connsiteY14" fmla="*/ 672529 h 4707679"/>
                  <a:gd name="connsiteX15" fmla="*/ 1812605 w 4645001"/>
                  <a:gd name="connsiteY15" fmla="*/ 62929 h 4707679"/>
                  <a:gd name="connsiteX16" fmla="*/ 2064065 w 4645001"/>
                  <a:gd name="connsiteY16" fmla="*/ 14351 h 4707679"/>
                  <a:gd name="connsiteX17" fmla="*/ 2283140 w 4645001"/>
                  <a:gd name="connsiteY17" fmla="*/ 64 h 47076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645001" h="4707679">
                    <a:moveTo>
                      <a:pt x="2283140" y="64"/>
                    </a:moveTo>
                    <a:cubicBezTo>
                      <a:pt x="2473640" y="-889"/>
                      <a:pt x="2624135" y="8636"/>
                      <a:pt x="2770820" y="42926"/>
                    </a:cubicBezTo>
                    <a:cubicBezTo>
                      <a:pt x="3191825" y="141986"/>
                      <a:pt x="3575683" y="317246"/>
                      <a:pt x="3891912" y="618236"/>
                    </a:cubicBezTo>
                    <a:cubicBezTo>
                      <a:pt x="4070983" y="788734"/>
                      <a:pt x="4230050" y="979234"/>
                      <a:pt x="4348160" y="1199261"/>
                    </a:cubicBezTo>
                    <a:cubicBezTo>
                      <a:pt x="4486273" y="1458341"/>
                      <a:pt x="4583428" y="1730756"/>
                      <a:pt x="4622480" y="2023174"/>
                    </a:cubicBezTo>
                    <a:cubicBezTo>
                      <a:pt x="4665343" y="2342261"/>
                      <a:pt x="4647245" y="2656586"/>
                      <a:pt x="4566283" y="2969006"/>
                    </a:cubicBezTo>
                    <a:cubicBezTo>
                      <a:pt x="4512943" y="3176651"/>
                      <a:pt x="4427218" y="3370009"/>
                      <a:pt x="4322443" y="3555746"/>
                    </a:cubicBezTo>
                    <a:cubicBezTo>
                      <a:pt x="4193855" y="3784346"/>
                      <a:pt x="4022405" y="3975799"/>
                      <a:pt x="3827143" y="4149154"/>
                    </a:cubicBezTo>
                    <a:cubicBezTo>
                      <a:pt x="3510912" y="4431094"/>
                      <a:pt x="3140390" y="4601591"/>
                      <a:pt x="2726053" y="4671124"/>
                    </a:cubicBezTo>
                    <a:cubicBezTo>
                      <a:pt x="2064065" y="4782566"/>
                      <a:pt x="1458275" y="4639691"/>
                      <a:pt x="921065" y="4235831"/>
                    </a:cubicBezTo>
                    <a:cubicBezTo>
                      <a:pt x="691513" y="4062476"/>
                      <a:pt x="497203" y="3850069"/>
                      <a:pt x="348612" y="3601466"/>
                    </a:cubicBezTo>
                    <a:cubicBezTo>
                      <a:pt x="240980" y="3420491"/>
                      <a:pt x="150492" y="3230944"/>
                      <a:pt x="94295" y="3027109"/>
                    </a:cubicBezTo>
                    <a:cubicBezTo>
                      <a:pt x="20952" y="2760409"/>
                      <a:pt x="-13338" y="2489899"/>
                      <a:pt x="4760" y="2212721"/>
                    </a:cubicBezTo>
                    <a:cubicBezTo>
                      <a:pt x="26667" y="1874584"/>
                      <a:pt x="115250" y="1555496"/>
                      <a:pt x="270507" y="1253554"/>
                    </a:cubicBezTo>
                    <a:cubicBezTo>
                      <a:pt x="382903" y="1035431"/>
                      <a:pt x="530540" y="846836"/>
                      <a:pt x="701038" y="672529"/>
                    </a:cubicBezTo>
                    <a:cubicBezTo>
                      <a:pt x="1011552" y="359156"/>
                      <a:pt x="1385885" y="165799"/>
                      <a:pt x="1812605" y="62929"/>
                    </a:cubicBezTo>
                    <a:cubicBezTo>
                      <a:pt x="1896425" y="42926"/>
                      <a:pt x="1979293" y="25781"/>
                      <a:pt x="2064065" y="14351"/>
                    </a:cubicBezTo>
                    <a:cubicBezTo>
                      <a:pt x="2149790" y="1969"/>
                      <a:pt x="2236468" y="1969"/>
                      <a:pt x="2283140" y="64"/>
                    </a:cubicBezTo>
                    <a:close/>
                  </a:path>
                </a:pathLst>
              </a:custGeom>
              <a:solidFill>
                <a:srgbClr val="0556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3" name="任意多边形: 形状 142"/>
              <p:cNvSpPr/>
              <p:nvPr/>
            </p:nvSpPr>
            <p:spPr>
              <a:xfrm>
                <a:off x="3823358" y="1127502"/>
                <a:ext cx="4551406" cy="4603303"/>
              </a:xfrm>
              <a:custGeom>
                <a:avLst/>
                <a:gdLst>
                  <a:gd name="connsiteX0" fmla="*/ 4551057 w 4551406"/>
                  <a:gd name="connsiteY0" fmla="*/ 2270644 h 4603303"/>
                  <a:gd name="connsiteX1" fmla="*/ 4352937 w 4551406"/>
                  <a:gd name="connsiteY1" fmla="*/ 3245051 h 4603303"/>
                  <a:gd name="connsiteX2" fmla="*/ 3865257 w 4551406"/>
                  <a:gd name="connsiteY2" fmla="*/ 3948949 h 4603303"/>
                  <a:gd name="connsiteX3" fmla="*/ 3703332 w 4551406"/>
                  <a:gd name="connsiteY3" fmla="*/ 4091824 h 4603303"/>
                  <a:gd name="connsiteX4" fmla="*/ 2777502 w 4551406"/>
                  <a:gd name="connsiteY4" fmla="*/ 4548071 h 4603303"/>
                  <a:gd name="connsiteX5" fmla="*/ 2338400 w 4551406"/>
                  <a:gd name="connsiteY5" fmla="*/ 4602364 h 4603303"/>
                  <a:gd name="connsiteX6" fmla="*/ 1274457 w 4551406"/>
                  <a:gd name="connsiteY6" fmla="*/ 4371859 h 4603303"/>
                  <a:gd name="connsiteX7" fmla="*/ 889647 w 4551406"/>
                  <a:gd name="connsiteY7" fmla="*/ 4131829 h 4603303"/>
                  <a:gd name="connsiteX8" fmla="*/ 379107 w 4551406"/>
                  <a:gd name="connsiteY8" fmla="*/ 3576521 h 4603303"/>
                  <a:gd name="connsiteX9" fmla="*/ 113359 w 4551406"/>
                  <a:gd name="connsiteY9" fmla="*/ 3018356 h 4603303"/>
                  <a:gd name="connsiteX10" fmla="*/ 1917 w 4551406"/>
                  <a:gd name="connsiteY10" fmla="*/ 2218256 h 4603303"/>
                  <a:gd name="connsiteX11" fmla="*/ 271474 w 4551406"/>
                  <a:gd name="connsiteY11" fmla="*/ 1212416 h 4603303"/>
                  <a:gd name="connsiteX12" fmla="*/ 735342 w 4551406"/>
                  <a:gd name="connsiteY12" fmla="*/ 608531 h 4603303"/>
                  <a:gd name="connsiteX13" fmla="*/ 1910727 w 4551406"/>
                  <a:gd name="connsiteY13" fmla="*/ 30364 h 4603303"/>
                  <a:gd name="connsiteX14" fmla="*/ 3761435 w 4551406"/>
                  <a:gd name="connsiteY14" fmla="*/ 555191 h 4603303"/>
                  <a:gd name="connsiteX15" fmla="*/ 4246257 w 4551406"/>
                  <a:gd name="connsiteY15" fmla="*/ 1146694 h 4603303"/>
                  <a:gd name="connsiteX16" fmla="*/ 4482477 w 4551406"/>
                  <a:gd name="connsiteY16" fmla="*/ 1737244 h 4603303"/>
                  <a:gd name="connsiteX17" fmla="*/ 4551057 w 4551406"/>
                  <a:gd name="connsiteY17" fmla="*/ 2270644 h 46033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4551406" h="4603303">
                    <a:moveTo>
                      <a:pt x="4551057" y="2270644"/>
                    </a:moveTo>
                    <a:cubicBezTo>
                      <a:pt x="4552962" y="2629736"/>
                      <a:pt x="4487240" y="2945966"/>
                      <a:pt x="4352937" y="3245051"/>
                    </a:cubicBezTo>
                    <a:cubicBezTo>
                      <a:pt x="4233875" y="3508894"/>
                      <a:pt x="4076712" y="3747971"/>
                      <a:pt x="3865257" y="3948949"/>
                    </a:cubicBezTo>
                    <a:cubicBezTo>
                      <a:pt x="3812869" y="3998479"/>
                      <a:pt x="3757625" y="4044199"/>
                      <a:pt x="3703332" y="4091824"/>
                    </a:cubicBezTo>
                    <a:cubicBezTo>
                      <a:pt x="3435679" y="4326139"/>
                      <a:pt x="3121354" y="4467109"/>
                      <a:pt x="2777502" y="4548071"/>
                    </a:cubicBezTo>
                    <a:cubicBezTo>
                      <a:pt x="2633675" y="4581409"/>
                      <a:pt x="2486990" y="4598554"/>
                      <a:pt x="2338400" y="4602364"/>
                    </a:cubicBezTo>
                    <a:cubicBezTo>
                      <a:pt x="1964067" y="4612842"/>
                      <a:pt x="1610689" y="4535689"/>
                      <a:pt x="1274457" y="4371859"/>
                    </a:cubicBezTo>
                    <a:cubicBezTo>
                      <a:pt x="1138250" y="4305184"/>
                      <a:pt x="1006804" y="4228984"/>
                      <a:pt x="889647" y="4131829"/>
                    </a:cubicBezTo>
                    <a:cubicBezTo>
                      <a:pt x="695337" y="3969904"/>
                      <a:pt x="515314" y="3792739"/>
                      <a:pt x="379107" y="3576521"/>
                    </a:cubicBezTo>
                    <a:cubicBezTo>
                      <a:pt x="270522" y="3401261"/>
                      <a:pt x="177177" y="3217429"/>
                      <a:pt x="113359" y="3018356"/>
                    </a:cubicBezTo>
                    <a:cubicBezTo>
                      <a:pt x="30492" y="2758324"/>
                      <a:pt x="-9513" y="2490671"/>
                      <a:pt x="1917" y="2218256"/>
                    </a:cubicBezTo>
                    <a:cubicBezTo>
                      <a:pt x="16204" y="1863926"/>
                      <a:pt x="104787" y="1528646"/>
                      <a:pt x="271474" y="1212416"/>
                    </a:cubicBezTo>
                    <a:cubicBezTo>
                      <a:pt x="392442" y="983816"/>
                      <a:pt x="550557" y="787601"/>
                      <a:pt x="735342" y="608531"/>
                    </a:cubicBezTo>
                    <a:cubicBezTo>
                      <a:pt x="1065859" y="289444"/>
                      <a:pt x="1462100" y="98944"/>
                      <a:pt x="1910727" y="30364"/>
                    </a:cubicBezTo>
                    <a:cubicBezTo>
                      <a:pt x="2604147" y="-76316"/>
                      <a:pt x="3227082" y="97991"/>
                      <a:pt x="3761435" y="555191"/>
                    </a:cubicBezTo>
                    <a:cubicBezTo>
                      <a:pt x="3956697" y="721879"/>
                      <a:pt x="4122432" y="919999"/>
                      <a:pt x="4246257" y="1146694"/>
                    </a:cubicBezTo>
                    <a:cubicBezTo>
                      <a:pt x="4348175" y="1333384"/>
                      <a:pt x="4433900" y="1528646"/>
                      <a:pt x="4482477" y="1737244"/>
                    </a:cubicBezTo>
                    <a:cubicBezTo>
                      <a:pt x="4527245" y="1922981"/>
                      <a:pt x="4554867" y="2110624"/>
                      <a:pt x="4551057" y="2270644"/>
                    </a:cubicBezTo>
                    <a:close/>
                  </a:path>
                </a:pathLst>
              </a:custGeom>
              <a:solidFill>
                <a:srgbClr val="FEFEF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4" name="任意多边形: 形状 143"/>
              <p:cNvSpPr/>
              <p:nvPr/>
            </p:nvSpPr>
            <p:spPr>
              <a:xfrm>
                <a:off x="4806397" y="2319357"/>
                <a:ext cx="2585400" cy="2414072"/>
              </a:xfrm>
              <a:custGeom>
                <a:avLst/>
                <a:gdLst>
                  <a:gd name="connsiteX0" fmla="*/ 2585037 w 2585400"/>
                  <a:gd name="connsiteY0" fmla="*/ 1199757 h 2414072"/>
                  <a:gd name="connsiteX1" fmla="*/ 2381202 w 2585400"/>
                  <a:gd name="connsiteY1" fmla="*/ 1728394 h 2414072"/>
                  <a:gd name="connsiteX2" fmla="*/ 1919240 w 2585400"/>
                  <a:gd name="connsiteY2" fmla="*/ 1972234 h 2414072"/>
                  <a:gd name="connsiteX3" fmla="*/ 1842087 w 2585400"/>
                  <a:gd name="connsiteY3" fmla="*/ 2035099 h 2414072"/>
                  <a:gd name="connsiteX4" fmla="*/ 1623012 w 2585400"/>
                  <a:gd name="connsiteY4" fmla="*/ 2304657 h 2414072"/>
                  <a:gd name="connsiteX5" fmla="*/ 1057227 w 2585400"/>
                  <a:gd name="connsiteY5" fmla="*/ 2359902 h 2414072"/>
                  <a:gd name="connsiteX6" fmla="*/ 740997 w 2585400"/>
                  <a:gd name="connsiteY6" fmla="*/ 2027479 h 2414072"/>
                  <a:gd name="connsiteX7" fmla="*/ 673370 w 2585400"/>
                  <a:gd name="connsiteY7" fmla="*/ 1975092 h 2414072"/>
                  <a:gd name="connsiteX8" fmla="*/ 242840 w 2585400"/>
                  <a:gd name="connsiteY8" fmla="*/ 1771257 h 2414072"/>
                  <a:gd name="connsiteX9" fmla="*/ 303800 w 2585400"/>
                  <a:gd name="connsiteY9" fmla="*/ 583489 h 2414072"/>
                  <a:gd name="connsiteX10" fmla="*/ 699087 w 2585400"/>
                  <a:gd name="connsiteY10" fmla="*/ 426327 h 2414072"/>
                  <a:gd name="connsiteX11" fmla="*/ 733377 w 2585400"/>
                  <a:gd name="connsiteY11" fmla="*/ 392989 h 2414072"/>
                  <a:gd name="connsiteX12" fmla="*/ 1165812 w 2585400"/>
                  <a:gd name="connsiteY12" fmla="*/ 14847 h 2414072"/>
                  <a:gd name="connsiteX13" fmla="*/ 1849707 w 2585400"/>
                  <a:gd name="connsiteY13" fmla="*/ 387274 h 2414072"/>
                  <a:gd name="connsiteX14" fmla="*/ 1904000 w 2585400"/>
                  <a:gd name="connsiteY14" fmla="*/ 427279 h 2414072"/>
                  <a:gd name="connsiteX15" fmla="*/ 2245947 w 2585400"/>
                  <a:gd name="connsiteY15" fmla="*/ 553009 h 2414072"/>
                  <a:gd name="connsiteX16" fmla="*/ 2570750 w 2585400"/>
                  <a:gd name="connsiteY16" fmla="*/ 1044499 h 2414072"/>
                  <a:gd name="connsiteX17" fmla="*/ 2585037 w 2585400"/>
                  <a:gd name="connsiteY17" fmla="*/ 1199757 h 2414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585400" h="2414072">
                    <a:moveTo>
                      <a:pt x="2585037" y="1199757"/>
                    </a:moveTo>
                    <a:cubicBezTo>
                      <a:pt x="2585990" y="1402639"/>
                      <a:pt x="2513600" y="1575042"/>
                      <a:pt x="2381202" y="1728394"/>
                    </a:cubicBezTo>
                    <a:cubicBezTo>
                      <a:pt x="2257377" y="1871269"/>
                      <a:pt x="2101167" y="1948422"/>
                      <a:pt x="1919240" y="1972234"/>
                    </a:cubicBezTo>
                    <a:cubicBezTo>
                      <a:pt x="1870662" y="1978902"/>
                      <a:pt x="1857327" y="1994142"/>
                      <a:pt x="1842087" y="2035099"/>
                    </a:cubicBezTo>
                    <a:cubicBezTo>
                      <a:pt x="1799225" y="2147494"/>
                      <a:pt x="1722072" y="2234172"/>
                      <a:pt x="1623012" y="2304657"/>
                    </a:cubicBezTo>
                    <a:cubicBezTo>
                      <a:pt x="1443942" y="2431339"/>
                      <a:pt x="1252490" y="2445627"/>
                      <a:pt x="1057227" y="2359902"/>
                    </a:cubicBezTo>
                    <a:cubicBezTo>
                      <a:pt x="909590" y="2295132"/>
                      <a:pt x="800052" y="2181784"/>
                      <a:pt x="740997" y="2027479"/>
                    </a:cubicBezTo>
                    <a:cubicBezTo>
                      <a:pt x="727662" y="1994142"/>
                      <a:pt x="712422" y="1979854"/>
                      <a:pt x="673370" y="1975092"/>
                    </a:cubicBezTo>
                    <a:cubicBezTo>
                      <a:pt x="508587" y="1955089"/>
                      <a:pt x="360950" y="1890319"/>
                      <a:pt x="242840" y="1771257"/>
                    </a:cubicBezTo>
                    <a:cubicBezTo>
                      <a:pt x="-118158" y="1407402"/>
                      <a:pt x="-59103" y="866382"/>
                      <a:pt x="303800" y="583489"/>
                    </a:cubicBezTo>
                    <a:cubicBezTo>
                      <a:pt x="422862" y="491097"/>
                      <a:pt x="552402" y="439662"/>
                      <a:pt x="699087" y="426327"/>
                    </a:cubicBezTo>
                    <a:cubicBezTo>
                      <a:pt x="723852" y="424422"/>
                      <a:pt x="726710" y="409182"/>
                      <a:pt x="733377" y="392989"/>
                    </a:cubicBezTo>
                    <a:cubicBezTo>
                      <a:pt x="811482" y="192012"/>
                      <a:pt x="954357" y="64377"/>
                      <a:pt x="1165812" y="14847"/>
                    </a:cubicBezTo>
                    <a:cubicBezTo>
                      <a:pt x="1450610" y="-51828"/>
                      <a:pt x="1752552" y="112002"/>
                      <a:pt x="1849707" y="387274"/>
                    </a:cubicBezTo>
                    <a:cubicBezTo>
                      <a:pt x="1860185" y="417754"/>
                      <a:pt x="1873520" y="424422"/>
                      <a:pt x="1904000" y="427279"/>
                    </a:cubicBezTo>
                    <a:cubicBezTo>
                      <a:pt x="2028777" y="438709"/>
                      <a:pt x="2145935" y="476809"/>
                      <a:pt x="2245947" y="553009"/>
                    </a:cubicBezTo>
                    <a:cubicBezTo>
                      <a:pt x="2410730" y="677787"/>
                      <a:pt x="2530745" y="835902"/>
                      <a:pt x="2570750" y="1044499"/>
                    </a:cubicBezTo>
                    <a:cubicBezTo>
                      <a:pt x="2581227" y="1095934"/>
                      <a:pt x="2586942" y="1147369"/>
                      <a:pt x="2585037" y="1199757"/>
                    </a:cubicBezTo>
                    <a:close/>
                  </a:path>
                </a:pathLst>
              </a:custGeom>
              <a:solidFill>
                <a:srgbClr val="02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5" name="任意多边形: 形状 144"/>
              <p:cNvSpPr/>
              <p:nvPr/>
            </p:nvSpPr>
            <p:spPr>
              <a:xfrm>
                <a:off x="6148422" y="4350734"/>
                <a:ext cx="1713886" cy="1166670"/>
              </a:xfrm>
              <a:custGeom>
                <a:avLst/>
                <a:gdLst>
                  <a:gd name="connsiteX0" fmla="*/ 273367 w 1713886"/>
                  <a:gd name="connsiteY0" fmla="*/ 745719 h 1166670"/>
                  <a:gd name="connsiteX1" fmla="*/ 490538 w 1713886"/>
                  <a:gd name="connsiteY1" fmla="*/ 686664 h 1166670"/>
                  <a:gd name="connsiteX2" fmla="*/ 525780 w 1713886"/>
                  <a:gd name="connsiteY2" fmla="*/ 698094 h 1166670"/>
                  <a:gd name="connsiteX3" fmla="*/ 766763 w 1713886"/>
                  <a:gd name="connsiteY3" fmla="*/ 844779 h 1166670"/>
                  <a:gd name="connsiteX4" fmla="*/ 697230 w 1713886"/>
                  <a:gd name="connsiteY4" fmla="*/ 663804 h 1166670"/>
                  <a:gd name="connsiteX5" fmla="*/ 634365 w 1713886"/>
                  <a:gd name="connsiteY5" fmla="*/ 639039 h 1166670"/>
                  <a:gd name="connsiteX6" fmla="*/ 853440 w 1713886"/>
                  <a:gd name="connsiteY6" fmla="*/ 525692 h 1166670"/>
                  <a:gd name="connsiteX7" fmla="*/ 1056323 w 1713886"/>
                  <a:gd name="connsiteY7" fmla="*/ 384722 h 1166670"/>
                  <a:gd name="connsiteX8" fmla="*/ 1049655 w 1713886"/>
                  <a:gd name="connsiteY8" fmla="*/ 407582 h 1166670"/>
                  <a:gd name="connsiteX9" fmla="*/ 1055370 w 1713886"/>
                  <a:gd name="connsiteY9" fmla="*/ 450444 h 1166670"/>
                  <a:gd name="connsiteX10" fmla="*/ 1272540 w 1713886"/>
                  <a:gd name="connsiteY10" fmla="*/ 562839 h 1166670"/>
                  <a:gd name="connsiteX11" fmla="*/ 1216342 w 1713886"/>
                  <a:gd name="connsiteY11" fmla="*/ 360909 h 1166670"/>
                  <a:gd name="connsiteX12" fmla="*/ 1138238 w 1713886"/>
                  <a:gd name="connsiteY12" fmla="*/ 324714 h 1166670"/>
                  <a:gd name="connsiteX13" fmla="*/ 1225867 w 1713886"/>
                  <a:gd name="connsiteY13" fmla="*/ 227559 h 1166670"/>
                  <a:gd name="connsiteX14" fmla="*/ 1381125 w 1713886"/>
                  <a:gd name="connsiteY14" fmla="*/ 16104 h 1166670"/>
                  <a:gd name="connsiteX15" fmla="*/ 1421130 w 1713886"/>
                  <a:gd name="connsiteY15" fmla="*/ 11342 h 1166670"/>
                  <a:gd name="connsiteX16" fmla="*/ 1491615 w 1713886"/>
                  <a:gd name="connsiteY16" fmla="*/ 68492 h 1166670"/>
                  <a:gd name="connsiteX17" fmla="*/ 1477327 w 1713886"/>
                  <a:gd name="connsiteY17" fmla="*/ 70397 h 1166670"/>
                  <a:gd name="connsiteX18" fmla="*/ 1318260 w 1713886"/>
                  <a:gd name="connsiteY18" fmla="*/ 139929 h 1166670"/>
                  <a:gd name="connsiteX19" fmla="*/ 1321117 w 1713886"/>
                  <a:gd name="connsiteY19" fmla="*/ 162789 h 1166670"/>
                  <a:gd name="connsiteX20" fmla="*/ 1422082 w 1713886"/>
                  <a:gd name="connsiteY20" fmla="*/ 238037 h 1166670"/>
                  <a:gd name="connsiteX21" fmla="*/ 1450657 w 1713886"/>
                  <a:gd name="connsiteY21" fmla="*/ 231369 h 1166670"/>
                  <a:gd name="connsiteX22" fmla="*/ 1449705 w 1713886"/>
                  <a:gd name="connsiteY22" fmla="*/ 168504 h 1166670"/>
                  <a:gd name="connsiteX23" fmla="*/ 1420177 w 1713886"/>
                  <a:gd name="connsiteY23" fmla="*/ 125642 h 1166670"/>
                  <a:gd name="connsiteX24" fmla="*/ 1589723 w 1713886"/>
                  <a:gd name="connsiteY24" fmla="*/ 242799 h 1166670"/>
                  <a:gd name="connsiteX25" fmla="*/ 1513523 w 1713886"/>
                  <a:gd name="connsiteY25" fmla="*/ 226607 h 1166670"/>
                  <a:gd name="connsiteX26" fmla="*/ 1466850 w 1713886"/>
                  <a:gd name="connsiteY26" fmla="*/ 248514 h 1166670"/>
                  <a:gd name="connsiteX27" fmla="*/ 1467802 w 1713886"/>
                  <a:gd name="connsiteY27" fmla="*/ 271374 h 1166670"/>
                  <a:gd name="connsiteX28" fmla="*/ 1560195 w 1713886"/>
                  <a:gd name="connsiteY28" fmla="*/ 347574 h 1166670"/>
                  <a:gd name="connsiteX29" fmla="*/ 1616392 w 1713886"/>
                  <a:gd name="connsiteY29" fmla="*/ 335192 h 1166670"/>
                  <a:gd name="connsiteX30" fmla="*/ 1627823 w 1713886"/>
                  <a:gd name="connsiteY30" fmla="*/ 147549 h 1166670"/>
                  <a:gd name="connsiteX31" fmla="*/ 1626870 w 1713886"/>
                  <a:gd name="connsiteY31" fmla="*/ 136119 h 1166670"/>
                  <a:gd name="connsiteX32" fmla="*/ 1634490 w 1713886"/>
                  <a:gd name="connsiteY32" fmla="*/ 138977 h 1166670"/>
                  <a:gd name="connsiteX33" fmla="*/ 1713548 w 1713886"/>
                  <a:gd name="connsiteY33" fmla="*/ 221844 h 1166670"/>
                  <a:gd name="connsiteX34" fmla="*/ 1657350 w 1713886"/>
                  <a:gd name="connsiteY34" fmla="*/ 316142 h 1166670"/>
                  <a:gd name="connsiteX35" fmla="*/ 1649730 w 1713886"/>
                  <a:gd name="connsiteY35" fmla="*/ 325667 h 1166670"/>
                  <a:gd name="connsiteX36" fmla="*/ 1514475 w 1713886"/>
                  <a:gd name="connsiteY36" fmla="*/ 503784 h 1166670"/>
                  <a:gd name="connsiteX37" fmla="*/ 1459230 w 1713886"/>
                  <a:gd name="connsiteY37" fmla="*/ 393294 h 1166670"/>
                  <a:gd name="connsiteX38" fmla="*/ 1290638 w 1713886"/>
                  <a:gd name="connsiteY38" fmla="*/ 260897 h 1166670"/>
                  <a:gd name="connsiteX39" fmla="*/ 1240155 w 1713886"/>
                  <a:gd name="connsiteY39" fmla="*/ 241847 h 1166670"/>
                  <a:gd name="connsiteX40" fmla="*/ 1224915 w 1713886"/>
                  <a:gd name="connsiteY40" fmla="*/ 306617 h 1166670"/>
                  <a:gd name="connsiteX41" fmla="*/ 1282065 w 1713886"/>
                  <a:gd name="connsiteY41" fmla="*/ 521882 h 1166670"/>
                  <a:gd name="connsiteX42" fmla="*/ 1327785 w 1713886"/>
                  <a:gd name="connsiteY42" fmla="*/ 686664 h 1166670"/>
                  <a:gd name="connsiteX43" fmla="*/ 1283017 w 1713886"/>
                  <a:gd name="connsiteY43" fmla="*/ 673329 h 1166670"/>
                  <a:gd name="connsiteX44" fmla="*/ 972502 w 1713886"/>
                  <a:gd name="connsiteY44" fmla="*/ 517119 h 1166670"/>
                  <a:gd name="connsiteX45" fmla="*/ 939165 w 1713886"/>
                  <a:gd name="connsiteY45" fmla="*/ 506642 h 1166670"/>
                  <a:gd name="connsiteX46" fmla="*/ 906780 w 1713886"/>
                  <a:gd name="connsiteY46" fmla="*/ 568554 h 1166670"/>
                  <a:gd name="connsiteX47" fmla="*/ 1034415 w 1713886"/>
                  <a:gd name="connsiteY47" fmla="*/ 793344 h 1166670"/>
                  <a:gd name="connsiteX48" fmla="*/ 1114425 w 1713886"/>
                  <a:gd name="connsiteY48" fmla="*/ 828587 h 1166670"/>
                  <a:gd name="connsiteX49" fmla="*/ 942975 w 1713886"/>
                  <a:gd name="connsiteY49" fmla="*/ 939077 h 1166670"/>
                  <a:gd name="connsiteX50" fmla="*/ 931545 w 1713886"/>
                  <a:gd name="connsiteY50" fmla="*/ 934314 h 1166670"/>
                  <a:gd name="connsiteX51" fmla="*/ 941070 w 1713886"/>
                  <a:gd name="connsiteY51" fmla="*/ 824777 h 1166670"/>
                  <a:gd name="connsiteX52" fmla="*/ 824865 w 1713886"/>
                  <a:gd name="connsiteY52" fmla="*/ 620942 h 1166670"/>
                  <a:gd name="connsiteX53" fmla="*/ 771525 w 1713886"/>
                  <a:gd name="connsiteY53" fmla="*/ 587604 h 1166670"/>
                  <a:gd name="connsiteX54" fmla="*/ 722947 w 1713886"/>
                  <a:gd name="connsiteY54" fmla="*/ 668567 h 1166670"/>
                  <a:gd name="connsiteX55" fmla="*/ 770572 w 1713886"/>
                  <a:gd name="connsiteY55" fmla="*/ 800964 h 1166670"/>
                  <a:gd name="connsiteX56" fmla="*/ 841057 w 1713886"/>
                  <a:gd name="connsiteY56" fmla="*/ 1006704 h 1166670"/>
                  <a:gd name="connsiteX57" fmla="*/ 471488 w 1713886"/>
                  <a:gd name="connsiteY57" fmla="*/ 784772 h 1166670"/>
                  <a:gd name="connsiteX58" fmla="*/ 560070 w 1713886"/>
                  <a:gd name="connsiteY58" fmla="*/ 1035279 h 1166670"/>
                  <a:gd name="connsiteX59" fmla="*/ 630555 w 1713886"/>
                  <a:gd name="connsiteY59" fmla="*/ 1064807 h 1166670"/>
                  <a:gd name="connsiteX60" fmla="*/ 501015 w 1713886"/>
                  <a:gd name="connsiteY60" fmla="*/ 1112432 h 1166670"/>
                  <a:gd name="connsiteX61" fmla="*/ 521017 w 1713886"/>
                  <a:gd name="connsiteY61" fmla="*/ 999084 h 1166670"/>
                  <a:gd name="connsiteX62" fmla="*/ 449580 w 1713886"/>
                  <a:gd name="connsiteY62" fmla="*/ 796202 h 1166670"/>
                  <a:gd name="connsiteX63" fmla="*/ 381000 w 1713886"/>
                  <a:gd name="connsiteY63" fmla="*/ 742862 h 1166670"/>
                  <a:gd name="connsiteX64" fmla="*/ 360045 w 1713886"/>
                  <a:gd name="connsiteY64" fmla="*/ 817157 h 1166670"/>
                  <a:gd name="connsiteX65" fmla="*/ 386715 w 1713886"/>
                  <a:gd name="connsiteY65" fmla="*/ 1031469 h 1166670"/>
                  <a:gd name="connsiteX66" fmla="*/ 242888 w 1713886"/>
                  <a:gd name="connsiteY66" fmla="*/ 1164819 h 1166670"/>
                  <a:gd name="connsiteX67" fmla="*/ 95250 w 1713886"/>
                  <a:gd name="connsiteY67" fmla="*/ 1069569 h 1166670"/>
                  <a:gd name="connsiteX68" fmla="*/ 64770 w 1713886"/>
                  <a:gd name="connsiteY68" fmla="*/ 876212 h 1166670"/>
                  <a:gd name="connsiteX69" fmla="*/ 60007 w 1713886"/>
                  <a:gd name="connsiteY69" fmla="*/ 840969 h 1166670"/>
                  <a:gd name="connsiteX70" fmla="*/ 0 w 1713886"/>
                  <a:gd name="connsiteY70" fmla="*/ 795249 h 1166670"/>
                  <a:gd name="connsiteX71" fmla="*/ 2857 w 1713886"/>
                  <a:gd name="connsiteY71" fmla="*/ 783819 h 1166670"/>
                  <a:gd name="connsiteX72" fmla="*/ 208597 w 1713886"/>
                  <a:gd name="connsiteY72" fmla="*/ 752387 h 1166670"/>
                  <a:gd name="connsiteX73" fmla="*/ 153352 w 1713886"/>
                  <a:gd name="connsiteY73" fmla="*/ 791439 h 1166670"/>
                  <a:gd name="connsiteX74" fmla="*/ 159067 w 1713886"/>
                  <a:gd name="connsiteY74" fmla="*/ 849542 h 1166670"/>
                  <a:gd name="connsiteX75" fmla="*/ 190500 w 1713886"/>
                  <a:gd name="connsiteY75" fmla="*/ 1059092 h 1166670"/>
                  <a:gd name="connsiteX76" fmla="*/ 260985 w 1713886"/>
                  <a:gd name="connsiteY76" fmla="*/ 1127672 h 1166670"/>
                  <a:gd name="connsiteX77" fmla="*/ 357188 w 1713886"/>
                  <a:gd name="connsiteY77" fmla="*/ 1061949 h 1166670"/>
                  <a:gd name="connsiteX78" fmla="*/ 355282 w 1713886"/>
                  <a:gd name="connsiteY78" fmla="*/ 960984 h 1166670"/>
                  <a:gd name="connsiteX79" fmla="*/ 333375 w 1713886"/>
                  <a:gd name="connsiteY79" fmla="*/ 801917 h 1166670"/>
                  <a:gd name="connsiteX80" fmla="*/ 273367 w 1713886"/>
                  <a:gd name="connsiteY80" fmla="*/ 745719 h 1166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1713886" h="1166670">
                    <a:moveTo>
                      <a:pt x="273367" y="745719"/>
                    </a:moveTo>
                    <a:cubicBezTo>
                      <a:pt x="350520" y="736194"/>
                      <a:pt x="421957" y="716192"/>
                      <a:pt x="490538" y="686664"/>
                    </a:cubicBezTo>
                    <a:cubicBezTo>
                      <a:pt x="504825" y="679997"/>
                      <a:pt x="515302" y="691427"/>
                      <a:pt x="525780" y="698094"/>
                    </a:cubicBezTo>
                    <a:cubicBezTo>
                      <a:pt x="602932" y="744767"/>
                      <a:pt x="679132" y="792392"/>
                      <a:pt x="766763" y="844779"/>
                    </a:cubicBezTo>
                    <a:cubicBezTo>
                      <a:pt x="741997" y="778104"/>
                      <a:pt x="721042" y="720002"/>
                      <a:pt x="697230" y="663804"/>
                    </a:cubicBezTo>
                    <a:cubicBezTo>
                      <a:pt x="685800" y="637134"/>
                      <a:pt x="660082" y="640944"/>
                      <a:pt x="634365" y="639039"/>
                    </a:cubicBezTo>
                    <a:cubicBezTo>
                      <a:pt x="715327" y="614274"/>
                      <a:pt x="780097" y="561887"/>
                      <a:pt x="853440" y="525692"/>
                    </a:cubicBezTo>
                    <a:cubicBezTo>
                      <a:pt x="927735" y="488544"/>
                      <a:pt x="994410" y="440919"/>
                      <a:pt x="1056323" y="384722"/>
                    </a:cubicBezTo>
                    <a:cubicBezTo>
                      <a:pt x="1063942" y="399009"/>
                      <a:pt x="1054417" y="402819"/>
                      <a:pt x="1049655" y="407582"/>
                    </a:cubicBezTo>
                    <a:cubicBezTo>
                      <a:pt x="1032510" y="424727"/>
                      <a:pt x="1032510" y="438062"/>
                      <a:pt x="1055370" y="450444"/>
                    </a:cubicBezTo>
                    <a:cubicBezTo>
                      <a:pt x="1125855" y="486639"/>
                      <a:pt x="1196340" y="522834"/>
                      <a:pt x="1272540" y="562839"/>
                    </a:cubicBezTo>
                    <a:cubicBezTo>
                      <a:pt x="1252538" y="490449"/>
                      <a:pt x="1235392" y="425679"/>
                      <a:pt x="1216342" y="360909"/>
                    </a:cubicBezTo>
                    <a:cubicBezTo>
                      <a:pt x="1201102" y="308522"/>
                      <a:pt x="1189673" y="303759"/>
                      <a:pt x="1138238" y="324714"/>
                    </a:cubicBezTo>
                    <a:cubicBezTo>
                      <a:pt x="1156335" y="280899"/>
                      <a:pt x="1201102" y="263754"/>
                      <a:pt x="1225867" y="227559"/>
                    </a:cubicBezTo>
                    <a:cubicBezTo>
                      <a:pt x="1276350" y="156122"/>
                      <a:pt x="1330642" y="87542"/>
                      <a:pt x="1381125" y="16104"/>
                    </a:cubicBezTo>
                    <a:cubicBezTo>
                      <a:pt x="1394460" y="-2946"/>
                      <a:pt x="1404938" y="-5803"/>
                      <a:pt x="1421130" y="11342"/>
                    </a:cubicBezTo>
                    <a:cubicBezTo>
                      <a:pt x="1442085" y="33249"/>
                      <a:pt x="1471613" y="42774"/>
                      <a:pt x="1491615" y="68492"/>
                    </a:cubicBezTo>
                    <a:cubicBezTo>
                      <a:pt x="1484948" y="69444"/>
                      <a:pt x="1481138" y="71349"/>
                      <a:pt x="1477327" y="70397"/>
                    </a:cubicBezTo>
                    <a:cubicBezTo>
                      <a:pt x="1399223" y="48489"/>
                      <a:pt x="1358265" y="66587"/>
                      <a:pt x="1318260" y="139929"/>
                    </a:cubicBezTo>
                    <a:cubicBezTo>
                      <a:pt x="1313498" y="148502"/>
                      <a:pt x="1310640" y="155169"/>
                      <a:pt x="1321117" y="162789"/>
                    </a:cubicBezTo>
                    <a:cubicBezTo>
                      <a:pt x="1355407" y="187554"/>
                      <a:pt x="1388745" y="212319"/>
                      <a:pt x="1422082" y="238037"/>
                    </a:cubicBezTo>
                    <a:cubicBezTo>
                      <a:pt x="1434465" y="247562"/>
                      <a:pt x="1443038" y="244704"/>
                      <a:pt x="1450657" y="231369"/>
                    </a:cubicBezTo>
                    <a:cubicBezTo>
                      <a:pt x="1463040" y="210414"/>
                      <a:pt x="1463040" y="188507"/>
                      <a:pt x="1449705" y="168504"/>
                    </a:cubicBezTo>
                    <a:cubicBezTo>
                      <a:pt x="1440180" y="154217"/>
                      <a:pt x="1428750" y="141834"/>
                      <a:pt x="1420177" y="125642"/>
                    </a:cubicBezTo>
                    <a:cubicBezTo>
                      <a:pt x="1480185" y="155169"/>
                      <a:pt x="1529715" y="200889"/>
                      <a:pt x="1589723" y="242799"/>
                    </a:cubicBezTo>
                    <a:cubicBezTo>
                      <a:pt x="1557338" y="247562"/>
                      <a:pt x="1538288" y="227559"/>
                      <a:pt x="1513523" y="226607"/>
                    </a:cubicBezTo>
                    <a:cubicBezTo>
                      <a:pt x="1491615" y="225654"/>
                      <a:pt x="1480185" y="236132"/>
                      <a:pt x="1466850" y="248514"/>
                    </a:cubicBezTo>
                    <a:cubicBezTo>
                      <a:pt x="1458277" y="257087"/>
                      <a:pt x="1458277" y="263754"/>
                      <a:pt x="1467802" y="271374"/>
                    </a:cubicBezTo>
                    <a:cubicBezTo>
                      <a:pt x="1500188" y="294234"/>
                      <a:pt x="1524952" y="326619"/>
                      <a:pt x="1560195" y="347574"/>
                    </a:cubicBezTo>
                    <a:cubicBezTo>
                      <a:pt x="1584007" y="361862"/>
                      <a:pt x="1602105" y="359004"/>
                      <a:pt x="1616392" y="335192"/>
                    </a:cubicBezTo>
                    <a:cubicBezTo>
                      <a:pt x="1652588" y="275184"/>
                      <a:pt x="1680210" y="213272"/>
                      <a:pt x="1627823" y="147549"/>
                    </a:cubicBezTo>
                    <a:cubicBezTo>
                      <a:pt x="1625917" y="145644"/>
                      <a:pt x="1626870" y="140882"/>
                      <a:pt x="1626870" y="136119"/>
                    </a:cubicBezTo>
                    <a:cubicBezTo>
                      <a:pt x="1629727" y="137072"/>
                      <a:pt x="1632585" y="137072"/>
                      <a:pt x="1634490" y="138977"/>
                    </a:cubicBezTo>
                    <a:cubicBezTo>
                      <a:pt x="1663065" y="165647"/>
                      <a:pt x="1708785" y="187554"/>
                      <a:pt x="1713548" y="221844"/>
                    </a:cubicBezTo>
                    <a:cubicBezTo>
                      <a:pt x="1718310" y="253277"/>
                      <a:pt x="1671638" y="279947"/>
                      <a:pt x="1657350" y="316142"/>
                    </a:cubicBezTo>
                    <a:cubicBezTo>
                      <a:pt x="1656398" y="319952"/>
                      <a:pt x="1652588" y="321857"/>
                      <a:pt x="1649730" y="325667"/>
                    </a:cubicBezTo>
                    <a:cubicBezTo>
                      <a:pt x="1605915" y="384722"/>
                      <a:pt x="1563052" y="442824"/>
                      <a:pt x="1514475" y="503784"/>
                    </a:cubicBezTo>
                    <a:cubicBezTo>
                      <a:pt x="1551623" y="436157"/>
                      <a:pt x="1493520" y="419964"/>
                      <a:pt x="1459230" y="393294"/>
                    </a:cubicBezTo>
                    <a:cubicBezTo>
                      <a:pt x="1402080" y="350432"/>
                      <a:pt x="1346835" y="305664"/>
                      <a:pt x="1290638" y="260897"/>
                    </a:cubicBezTo>
                    <a:cubicBezTo>
                      <a:pt x="1276350" y="249467"/>
                      <a:pt x="1261110" y="228512"/>
                      <a:pt x="1240155" y="241847"/>
                    </a:cubicBezTo>
                    <a:cubicBezTo>
                      <a:pt x="1218248" y="256134"/>
                      <a:pt x="1219200" y="283757"/>
                      <a:pt x="1224915" y="306617"/>
                    </a:cubicBezTo>
                    <a:cubicBezTo>
                      <a:pt x="1243013" y="379007"/>
                      <a:pt x="1263015" y="450444"/>
                      <a:pt x="1282065" y="521882"/>
                    </a:cubicBezTo>
                    <a:cubicBezTo>
                      <a:pt x="1296352" y="575222"/>
                      <a:pt x="1311592" y="629514"/>
                      <a:pt x="1327785" y="686664"/>
                    </a:cubicBezTo>
                    <a:cubicBezTo>
                      <a:pt x="1307782" y="689522"/>
                      <a:pt x="1296352" y="679044"/>
                      <a:pt x="1283017" y="673329"/>
                    </a:cubicBezTo>
                    <a:cubicBezTo>
                      <a:pt x="1179195" y="620942"/>
                      <a:pt x="1076325" y="568554"/>
                      <a:pt x="972502" y="517119"/>
                    </a:cubicBezTo>
                    <a:cubicBezTo>
                      <a:pt x="962025" y="512357"/>
                      <a:pt x="950595" y="506642"/>
                      <a:pt x="939165" y="506642"/>
                    </a:cubicBezTo>
                    <a:cubicBezTo>
                      <a:pt x="891540" y="508547"/>
                      <a:pt x="882967" y="525692"/>
                      <a:pt x="906780" y="568554"/>
                    </a:cubicBezTo>
                    <a:cubicBezTo>
                      <a:pt x="948690" y="643802"/>
                      <a:pt x="992505" y="718097"/>
                      <a:pt x="1034415" y="793344"/>
                    </a:cubicBezTo>
                    <a:cubicBezTo>
                      <a:pt x="1052513" y="826682"/>
                      <a:pt x="1071563" y="847637"/>
                      <a:pt x="1114425" y="828587"/>
                    </a:cubicBezTo>
                    <a:cubicBezTo>
                      <a:pt x="1057275" y="865734"/>
                      <a:pt x="1000125" y="901929"/>
                      <a:pt x="942975" y="939077"/>
                    </a:cubicBezTo>
                    <a:cubicBezTo>
                      <a:pt x="939165" y="937172"/>
                      <a:pt x="935355" y="935267"/>
                      <a:pt x="931545" y="934314"/>
                    </a:cubicBezTo>
                    <a:cubicBezTo>
                      <a:pt x="990600" y="898119"/>
                      <a:pt x="963930" y="862877"/>
                      <a:pt x="941070" y="824777"/>
                    </a:cubicBezTo>
                    <a:cubicBezTo>
                      <a:pt x="901065" y="757149"/>
                      <a:pt x="863917" y="688569"/>
                      <a:pt x="824865" y="620942"/>
                    </a:cubicBezTo>
                    <a:cubicBezTo>
                      <a:pt x="813435" y="600939"/>
                      <a:pt x="802957" y="576174"/>
                      <a:pt x="771525" y="587604"/>
                    </a:cubicBezTo>
                    <a:cubicBezTo>
                      <a:pt x="734377" y="600939"/>
                      <a:pt x="712470" y="637134"/>
                      <a:pt x="722947" y="668567"/>
                    </a:cubicBezTo>
                    <a:cubicBezTo>
                      <a:pt x="738188" y="713334"/>
                      <a:pt x="755332" y="757149"/>
                      <a:pt x="770572" y="800964"/>
                    </a:cubicBezTo>
                    <a:cubicBezTo>
                      <a:pt x="793432" y="866687"/>
                      <a:pt x="816292" y="932409"/>
                      <a:pt x="841057" y="1006704"/>
                    </a:cubicBezTo>
                    <a:cubicBezTo>
                      <a:pt x="708660" y="941934"/>
                      <a:pt x="602932" y="849542"/>
                      <a:pt x="471488" y="784772"/>
                    </a:cubicBezTo>
                    <a:cubicBezTo>
                      <a:pt x="501967" y="872402"/>
                      <a:pt x="525780" y="955269"/>
                      <a:pt x="560070" y="1035279"/>
                    </a:cubicBezTo>
                    <a:cubicBezTo>
                      <a:pt x="573405" y="1066712"/>
                      <a:pt x="602932" y="1058139"/>
                      <a:pt x="630555" y="1064807"/>
                    </a:cubicBezTo>
                    <a:cubicBezTo>
                      <a:pt x="587692" y="1080999"/>
                      <a:pt x="543877" y="1096239"/>
                      <a:pt x="501015" y="1112432"/>
                    </a:cubicBezTo>
                    <a:cubicBezTo>
                      <a:pt x="545782" y="1064807"/>
                      <a:pt x="544830" y="1064807"/>
                      <a:pt x="521017" y="999084"/>
                    </a:cubicBezTo>
                    <a:cubicBezTo>
                      <a:pt x="497205" y="931457"/>
                      <a:pt x="473392" y="863829"/>
                      <a:pt x="449580" y="796202"/>
                    </a:cubicBezTo>
                    <a:cubicBezTo>
                      <a:pt x="434340" y="753339"/>
                      <a:pt x="407670" y="732384"/>
                      <a:pt x="381000" y="742862"/>
                    </a:cubicBezTo>
                    <a:cubicBezTo>
                      <a:pt x="344805" y="758102"/>
                      <a:pt x="356235" y="788582"/>
                      <a:pt x="360045" y="817157"/>
                    </a:cubicBezTo>
                    <a:cubicBezTo>
                      <a:pt x="369570" y="888594"/>
                      <a:pt x="381952" y="959079"/>
                      <a:pt x="386715" y="1031469"/>
                    </a:cubicBezTo>
                    <a:cubicBezTo>
                      <a:pt x="391477" y="1106717"/>
                      <a:pt x="340042" y="1151484"/>
                      <a:pt x="242888" y="1164819"/>
                    </a:cubicBezTo>
                    <a:cubicBezTo>
                      <a:pt x="167640" y="1175297"/>
                      <a:pt x="110490" y="1141007"/>
                      <a:pt x="95250" y="1069569"/>
                    </a:cubicBezTo>
                    <a:cubicBezTo>
                      <a:pt x="81915" y="1005752"/>
                      <a:pt x="74295" y="940982"/>
                      <a:pt x="64770" y="876212"/>
                    </a:cubicBezTo>
                    <a:cubicBezTo>
                      <a:pt x="62865" y="864782"/>
                      <a:pt x="60960" y="853352"/>
                      <a:pt x="60007" y="840969"/>
                    </a:cubicBezTo>
                    <a:cubicBezTo>
                      <a:pt x="58102" y="805727"/>
                      <a:pt x="42863" y="785724"/>
                      <a:pt x="0" y="795249"/>
                    </a:cubicBezTo>
                    <a:cubicBezTo>
                      <a:pt x="952" y="791439"/>
                      <a:pt x="1905" y="787629"/>
                      <a:pt x="2857" y="783819"/>
                    </a:cubicBezTo>
                    <a:cubicBezTo>
                      <a:pt x="67627" y="774294"/>
                      <a:pt x="133350" y="763817"/>
                      <a:pt x="208597" y="752387"/>
                    </a:cubicBezTo>
                    <a:cubicBezTo>
                      <a:pt x="185738" y="772389"/>
                      <a:pt x="160020" y="769532"/>
                      <a:pt x="153352" y="791439"/>
                    </a:cubicBezTo>
                    <a:cubicBezTo>
                      <a:pt x="147638" y="811442"/>
                      <a:pt x="157163" y="830492"/>
                      <a:pt x="159067" y="849542"/>
                    </a:cubicBezTo>
                    <a:cubicBezTo>
                      <a:pt x="168592" y="919074"/>
                      <a:pt x="178117" y="989559"/>
                      <a:pt x="190500" y="1059092"/>
                    </a:cubicBezTo>
                    <a:cubicBezTo>
                      <a:pt x="199072" y="1108622"/>
                      <a:pt x="220027" y="1126719"/>
                      <a:pt x="260985" y="1127672"/>
                    </a:cubicBezTo>
                    <a:cubicBezTo>
                      <a:pt x="307657" y="1128624"/>
                      <a:pt x="343852" y="1102907"/>
                      <a:pt x="357188" y="1061949"/>
                    </a:cubicBezTo>
                    <a:cubicBezTo>
                      <a:pt x="368617" y="1027659"/>
                      <a:pt x="358140" y="994322"/>
                      <a:pt x="355282" y="960984"/>
                    </a:cubicBezTo>
                    <a:cubicBezTo>
                      <a:pt x="349567" y="907644"/>
                      <a:pt x="339090" y="855257"/>
                      <a:pt x="333375" y="801917"/>
                    </a:cubicBezTo>
                    <a:cubicBezTo>
                      <a:pt x="332422" y="762864"/>
                      <a:pt x="306705" y="751434"/>
                      <a:pt x="273367" y="745719"/>
                    </a:cubicBezTo>
                    <a:close/>
                  </a:path>
                </a:pathLst>
              </a:custGeom>
              <a:solidFill>
                <a:srgbClr val="03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6" name="任意多边形: 形状 145"/>
              <p:cNvSpPr/>
              <p:nvPr/>
            </p:nvSpPr>
            <p:spPr>
              <a:xfrm>
                <a:off x="6932229" y="1890304"/>
                <a:ext cx="711413" cy="667880"/>
              </a:xfrm>
              <a:custGeom>
                <a:avLst/>
                <a:gdLst>
                  <a:gd name="connsiteX0" fmla="*/ 620178 w 711413"/>
                  <a:gd name="connsiteY0" fmla="*/ 259114 h 667880"/>
                  <a:gd name="connsiteX1" fmla="*/ 608748 w 711413"/>
                  <a:gd name="connsiteY1" fmla="*/ 172437 h 667880"/>
                  <a:gd name="connsiteX2" fmla="*/ 695425 w 711413"/>
                  <a:gd name="connsiteY2" fmla="*/ 212442 h 667880"/>
                  <a:gd name="connsiteX3" fmla="*/ 679233 w 711413"/>
                  <a:gd name="connsiteY3" fmla="*/ 303882 h 667880"/>
                  <a:gd name="connsiteX4" fmla="*/ 576363 w 711413"/>
                  <a:gd name="connsiteY4" fmla="*/ 351507 h 667880"/>
                  <a:gd name="connsiteX5" fmla="*/ 576363 w 711413"/>
                  <a:gd name="connsiteY5" fmla="*/ 381034 h 667880"/>
                  <a:gd name="connsiteX6" fmla="*/ 628750 w 711413"/>
                  <a:gd name="connsiteY6" fmla="*/ 495334 h 667880"/>
                  <a:gd name="connsiteX7" fmla="*/ 564933 w 711413"/>
                  <a:gd name="connsiteY7" fmla="*/ 517242 h 667880"/>
                  <a:gd name="connsiteX8" fmla="*/ 501115 w 711413"/>
                  <a:gd name="connsiteY8" fmla="*/ 472474 h 667880"/>
                  <a:gd name="connsiteX9" fmla="*/ 450633 w 711413"/>
                  <a:gd name="connsiteY9" fmla="*/ 465807 h 667880"/>
                  <a:gd name="connsiteX10" fmla="*/ 412533 w 711413"/>
                  <a:gd name="connsiteY10" fmla="*/ 466759 h 667880"/>
                  <a:gd name="connsiteX11" fmla="*/ 354431 w 711413"/>
                  <a:gd name="connsiteY11" fmla="*/ 464854 h 667880"/>
                  <a:gd name="connsiteX12" fmla="*/ 333475 w 711413"/>
                  <a:gd name="connsiteY12" fmla="*/ 480094 h 667880"/>
                  <a:gd name="connsiteX13" fmla="*/ 346810 w 711413"/>
                  <a:gd name="connsiteY13" fmla="*/ 498192 h 667880"/>
                  <a:gd name="connsiteX14" fmla="*/ 424915 w 711413"/>
                  <a:gd name="connsiteY14" fmla="*/ 542007 h 667880"/>
                  <a:gd name="connsiteX15" fmla="*/ 438250 w 711413"/>
                  <a:gd name="connsiteY15" fmla="*/ 634399 h 667880"/>
                  <a:gd name="connsiteX16" fmla="*/ 386815 w 711413"/>
                  <a:gd name="connsiteY16" fmla="*/ 624874 h 667880"/>
                  <a:gd name="connsiteX17" fmla="*/ 341095 w 711413"/>
                  <a:gd name="connsiteY17" fmla="*/ 576297 h 667880"/>
                  <a:gd name="connsiteX18" fmla="*/ 278231 w 711413"/>
                  <a:gd name="connsiteY18" fmla="*/ 582012 h 667880"/>
                  <a:gd name="connsiteX19" fmla="*/ 165835 w 711413"/>
                  <a:gd name="connsiteY19" fmla="*/ 662022 h 667880"/>
                  <a:gd name="connsiteX20" fmla="*/ 111543 w 711413"/>
                  <a:gd name="connsiteY20" fmla="*/ 666784 h 667880"/>
                  <a:gd name="connsiteX21" fmla="*/ 80110 w 711413"/>
                  <a:gd name="connsiteY21" fmla="*/ 642972 h 667880"/>
                  <a:gd name="connsiteX22" fmla="*/ 45820 w 711413"/>
                  <a:gd name="connsiteY22" fmla="*/ 502954 h 667880"/>
                  <a:gd name="connsiteX23" fmla="*/ 125831 w 711413"/>
                  <a:gd name="connsiteY23" fmla="*/ 553437 h 667880"/>
                  <a:gd name="connsiteX24" fmla="*/ 209650 w 711413"/>
                  <a:gd name="connsiteY24" fmla="*/ 521052 h 667880"/>
                  <a:gd name="connsiteX25" fmla="*/ 198220 w 711413"/>
                  <a:gd name="connsiteY25" fmla="*/ 499144 h 667880"/>
                  <a:gd name="connsiteX26" fmla="*/ 109638 w 711413"/>
                  <a:gd name="connsiteY26" fmla="*/ 449614 h 667880"/>
                  <a:gd name="connsiteX27" fmla="*/ 60108 w 711413"/>
                  <a:gd name="connsiteY27" fmla="*/ 357222 h 667880"/>
                  <a:gd name="connsiteX28" fmla="*/ 90588 w 711413"/>
                  <a:gd name="connsiteY28" fmla="*/ 342934 h 667880"/>
                  <a:gd name="connsiteX29" fmla="*/ 200125 w 711413"/>
                  <a:gd name="connsiteY29" fmla="*/ 416277 h 667880"/>
                  <a:gd name="connsiteX30" fmla="*/ 244893 w 711413"/>
                  <a:gd name="connsiteY30" fmla="*/ 410562 h 667880"/>
                  <a:gd name="connsiteX31" fmla="*/ 276325 w 711413"/>
                  <a:gd name="connsiteY31" fmla="*/ 399132 h 667880"/>
                  <a:gd name="connsiteX32" fmla="*/ 342048 w 711413"/>
                  <a:gd name="connsiteY32" fmla="*/ 387702 h 667880"/>
                  <a:gd name="connsiteX33" fmla="*/ 238225 w 711413"/>
                  <a:gd name="connsiteY33" fmla="*/ 351507 h 667880"/>
                  <a:gd name="connsiteX34" fmla="*/ 198220 w 711413"/>
                  <a:gd name="connsiteY34" fmla="*/ 340077 h 667880"/>
                  <a:gd name="connsiteX35" fmla="*/ 176313 w 711413"/>
                  <a:gd name="connsiteY35" fmla="*/ 294357 h 667880"/>
                  <a:gd name="connsiteX36" fmla="*/ 218223 w 711413"/>
                  <a:gd name="connsiteY36" fmla="*/ 286737 h 667880"/>
                  <a:gd name="connsiteX37" fmla="*/ 487781 w 711413"/>
                  <a:gd name="connsiteY37" fmla="*/ 413419 h 667880"/>
                  <a:gd name="connsiteX38" fmla="*/ 508735 w 711413"/>
                  <a:gd name="connsiteY38" fmla="*/ 421039 h 667880"/>
                  <a:gd name="connsiteX39" fmla="*/ 501115 w 711413"/>
                  <a:gd name="connsiteY39" fmla="*/ 395322 h 667880"/>
                  <a:gd name="connsiteX40" fmla="*/ 300138 w 711413"/>
                  <a:gd name="connsiteY40" fmla="*/ 288642 h 667880"/>
                  <a:gd name="connsiteX41" fmla="*/ 230606 w 711413"/>
                  <a:gd name="connsiteY41" fmla="*/ 253399 h 667880"/>
                  <a:gd name="connsiteX42" fmla="*/ 131545 w 711413"/>
                  <a:gd name="connsiteY42" fmla="*/ 262924 h 667880"/>
                  <a:gd name="connsiteX43" fmla="*/ 52488 w 711413"/>
                  <a:gd name="connsiteY43" fmla="*/ 304834 h 667880"/>
                  <a:gd name="connsiteX44" fmla="*/ 6768 w 711413"/>
                  <a:gd name="connsiteY44" fmla="*/ 295309 h 667880"/>
                  <a:gd name="connsiteX45" fmla="*/ 12483 w 711413"/>
                  <a:gd name="connsiteY45" fmla="*/ 244827 h 667880"/>
                  <a:gd name="connsiteX46" fmla="*/ 97256 w 711413"/>
                  <a:gd name="connsiteY46" fmla="*/ 158149 h 667880"/>
                  <a:gd name="connsiteX47" fmla="*/ 162025 w 711413"/>
                  <a:gd name="connsiteY47" fmla="*/ 164817 h 667880"/>
                  <a:gd name="connsiteX48" fmla="*/ 220128 w 711413"/>
                  <a:gd name="connsiteY48" fmla="*/ 167674 h 667880"/>
                  <a:gd name="connsiteX49" fmla="*/ 308710 w 711413"/>
                  <a:gd name="connsiteY49" fmla="*/ 42897 h 667880"/>
                  <a:gd name="connsiteX50" fmla="*/ 352525 w 711413"/>
                  <a:gd name="connsiteY50" fmla="*/ 987 h 667880"/>
                  <a:gd name="connsiteX51" fmla="*/ 364908 w 711413"/>
                  <a:gd name="connsiteY51" fmla="*/ 56232 h 667880"/>
                  <a:gd name="connsiteX52" fmla="*/ 343953 w 711413"/>
                  <a:gd name="connsiteY52" fmla="*/ 104809 h 667880"/>
                  <a:gd name="connsiteX53" fmla="*/ 287756 w 711413"/>
                  <a:gd name="connsiteY53" fmla="*/ 170532 h 667880"/>
                  <a:gd name="connsiteX54" fmla="*/ 277278 w 711413"/>
                  <a:gd name="connsiteY54" fmla="*/ 201964 h 667880"/>
                  <a:gd name="connsiteX55" fmla="*/ 305853 w 711413"/>
                  <a:gd name="connsiteY55" fmla="*/ 187677 h 667880"/>
                  <a:gd name="connsiteX56" fmla="*/ 427773 w 711413"/>
                  <a:gd name="connsiteY56" fmla="*/ 24799 h 667880"/>
                  <a:gd name="connsiteX57" fmla="*/ 476350 w 711413"/>
                  <a:gd name="connsiteY57" fmla="*/ 20037 h 667880"/>
                  <a:gd name="connsiteX58" fmla="*/ 508735 w 711413"/>
                  <a:gd name="connsiteY58" fmla="*/ 37182 h 667880"/>
                  <a:gd name="connsiteX59" fmla="*/ 543978 w 711413"/>
                  <a:gd name="connsiteY59" fmla="*/ 69567 h 667880"/>
                  <a:gd name="connsiteX60" fmla="*/ 597318 w 711413"/>
                  <a:gd name="connsiteY60" fmla="*/ 83854 h 667880"/>
                  <a:gd name="connsiteX61" fmla="*/ 642085 w 711413"/>
                  <a:gd name="connsiteY61" fmla="*/ 62899 h 667880"/>
                  <a:gd name="connsiteX62" fmla="*/ 662088 w 711413"/>
                  <a:gd name="connsiteY62" fmla="*/ 115287 h 667880"/>
                  <a:gd name="connsiteX63" fmla="*/ 627798 w 711413"/>
                  <a:gd name="connsiteY63" fmla="*/ 152434 h 667880"/>
                  <a:gd name="connsiteX64" fmla="*/ 581125 w 711413"/>
                  <a:gd name="connsiteY64" fmla="*/ 181962 h 667880"/>
                  <a:gd name="connsiteX65" fmla="*/ 620178 w 711413"/>
                  <a:gd name="connsiteY65" fmla="*/ 259114 h 667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711413" h="667880">
                    <a:moveTo>
                      <a:pt x="620178" y="259114"/>
                    </a:moveTo>
                    <a:cubicBezTo>
                      <a:pt x="626845" y="226729"/>
                      <a:pt x="601128" y="204822"/>
                      <a:pt x="608748" y="172437"/>
                    </a:cubicBezTo>
                    <a:cubicBezTo>
                      <a:pt x="638275" y="185772"/>
                      <a:pt x="669708" y="195297"/>
                      <a:pt x="695425" y="212442"/>
                    </a:cubicBezTo>
                    <a:cubicBezTo>
                      <a:pt x="724000" y="231492"/>
                      <a:pt x="711618" y="288642"/>
                      <a:pt x="679233" y="303882"/>
                    </a:cubicBezTo>
                    <a:cubicBezTo>
                      <a:pt x="644943" y="319122"/>
                      <a:pt x="610653" y="336267"/>
                      <a:pt x="576363" y="351507"/>
                    </a:cubicBezTo>
                    <a:cubicBezTo>
                      <a:pt x="554456" y="361984"/>
                      <a:pt x="554456" y="371509"/>
                      <a:pt x="576363" y="381034"/>
                    </a:cubicBezTo>
                    <a:cubicBezTo>
                      <a:pt x="625893" y="403894"/>
                      <a:pt x="623988" y="452472"/>
                      <a:pt x="628750" y="495334"/>
                    </a:cubicBezTo>
                    <a:cubicBezTo>
                      <a:pt x="631608" y="522957"/>
                      <a:pt x="596365" y="534387"/>
                      <a:pt x="564933" y="517242"/>
                    </a:cubicBezTo>
                    <a:cubicBezTo>
                      <a:pt x="542073" y="504859"/>
                      <a:pt x="522070" y="486762"/>
                      <a:pt x="501115" y="472474"/>
                    </a:cubicBezTo>
                    <a:cubicBezTo>
                      <a:pt x="485875" y="461997"/>
                      <a:pt x="469683" y="453424"/>
                      <a:pt x="450633" y="465807"/>
                    </a:cubicBezTo>
                    <a:cubicBezTo>
                      <a:pt x="438250" y="473427"/>
                      <a:pt x="424915" y="470569"/>
                      <a:pt x="412533" y="466759"/>
                    </a:cubicBezTo>
                    <a:cubicBezTo>
                      <a:pt x="393483" y="460092"/>
                      <a:pt x="373481" y="461044"/>
                      <a:pt x="354431" y="464854"/>
                    </a:cubicBezTo>
                    <a:cubicBezTo>
                      <a:pt x="345858" y="466759"/>
                      <a:pt x="335381" y="468664"/>
                      <a:pt x="333475" y="480094"/>
                    </a:cubicBezTo>
                    <a:cubicBezTo>
                      <a:pt x="332523" y="488667"/>
                      <a:pt x="340143" y="494382"/>
                      <a:pt x="346810" y="498192"/>
                    </a:cubicBezTo>
                    <a:cubicBezTo>
                      <a:pt x="372528" y="513432"/>
                      <a:pt x="398245" y="528672"/>
                      <a:pt x="424915" y="542007"/>
                    </a:cubicBezTo>
                    <a:cubicBezTo>
                      <a:pt x="456348" y="558199"/>
                      <a:pt x="465873" y="611539"/>
                      <a:pt x="438250" y="634399"/>
                    </a:cubicBezTo>
                    <a:cubicBezTo>
                      <a:pt x="418248" y="651544"/>
                      <a:pt x="401103" y="637257"/>
                      <a:pt x="386815" y="624874"/>
                    </a:cubicBezTo>
                    <a:cubicBezTo>
                      <a:pt x="370623" y="609634"/>
                      <a:pt x="357288" y="591537"/>
                      <a:pt x="341095" y="576297"/>
                    </a:cubicBezTo>
                    <a:cubicBezTo>
                      <a:pt x="318235" y="553437"/>
                      <a:pt x="296328" y="550579"/>
                      <a:pt x="278231" y="582012"/>
                    </a:cubicBezTo>
                    <a:cubicBezTo>
                      <a:pt x="252513" y="625827"/>
                      <a:pt x="210603" y="645829"/>
                      <a:pt x="165835" y="662022"/>
                    </a:cubicBezTo>
                    <a:cubicBezTo>
                      <a:pt x="147738" y="668689"/>
                      <a:pt x="129640" y="668689"/>
                      <a:pt x="111543" y="666784"/>
                    </a:cubicBezTo>
                    <a:cubicBezTo>
                      <a:pt x="96303" y="665832"/>
                      <a:pt x="81063" y="660117"/>
                      <a:pt x="80110" y="642972"/>
                    </a:cubicBezTo>
                    <a:cubicBezTo>
                      <a:pt x="78206" y="595347"/>
                      <a:pt x="64870" y="551532"/>
                      <a:pt x="45820" y="502954"/>
                    </a:cubicBezTo>
                    <a:cubicBezTo>
                      <a:pt x="80110" y="515337"/>
                      <a:pt x="101065" y="537244"/>
                      <a:pt x="125831" y="553437"/>
                    </a:cubicBezTo>
                    <a:cubicBezTo>
                      <a:pt x="157263" y="573439"/>
                      <a:pt x="198220" y="557247"/>
                      <a:pt x="209650" y="521052"/>
                    </a:cubicBezTo>
                    <a:cubicBezTo>
                      <a:pt x="213460" y="507717"/>
                      <a:pt x="203935" y="505812"/>
                      <a:pt x="198220" y="499144"/>
                    </a:cubicBezTo>
                    <a:cubicBezTo>
                      <a:pt x="174408" y="473427"/>
                      <a:pt x="140118" y="464854"/>
                      <a:pt x="109638" y="449614"/>
                    </a:cubicBezTo>
                    <a:cubicBezTo>
                      <a:pt x="76300" y="433422"/>
                      <a:pt x="55345" y="392464"/>
                      <a:pt x="60108" y="357222"/>
                    </a:cubicBezTo>
                    <a:cubicBezTo>
                      <a:pt x="62965" y="336267"/>
                      <a:pt x="74395" y="336267"/>
                      <a:pt x="90588" y="342934"/>
                    </a:cubicBezTo>
                    <a:cubicBezTo>
                      <a:pt x="131545" y="361032"/>
                      <a:pt x="164883" y="389607"/>
                      <a:pt x="200125" y="416277"/>
                    </a:cubicBezTo>
                    <a:cubicBezTo>
                      <a:pt x="215365" y="427707"/>
                      <a:pt x="237273" y="470569"/>
                      <a:pt x="244893" y="410562"/>
                    </a:cubicBezTo>
                    <a:cubicBezTo>
                      <a:pt x="247750" y="391512"/>
                      <a:pt x="263943" y="397227"/>
                      <a:pt x="276325" y="399132"/>
                    </a:cubicBezTo>
                    <a:cubicBezTo>
                      <a:pt x="297281" y="402942"/>
                      <a:pt x="317283" y="405799"/>
                      <a:pt x="342048" y="387702"/>
                    </a:cubicBezTo>
                    <a:cubicBezTo>
                      <a:pt x="305853" y="371509"/>
                      <a:pt x="274420" y="352459"/>
                      <a:pt x="238225" y="351507"/>
                    </a:cubicBezTo>
                    <a:cubicBezTo>
                      <a:pt x="222985" y="351507"/>
                      <a:pt x="209650" y="348649"/>
                      <a:pt x="198220" y="340077"/>
                    </a:cubicBezTo>
                    <a:cubicBezTo>
                      <a:pt x="183933" y="328647"/>
                      <a:pt x="168693" y="314359"/>
                      <a:pt x="176313" y="294357"/>
                    </a:cubicBezTo>
                    <a:cubicBezTo>
                      <a:pt x="184885" y="274354"/>
                      <a:pt x="203935" y="284832"/>
                      <a:pt x="218223" y="286737"/>
                    </a:cubicBezTo>
                    <a:cubicBezTo>
                      <a:pt x="322045" y="299119"/>
                      <a:pt x="404913" y="357222"/>
                      <a:pt x="487781" y="413419"/>
                    </a:cubicBezTo>
                    <a:cubicBezTo>
                      <a:pt x="495400" y="418182"/>
                      <a:pt x="501115" y="428659"/>
                      <a:pt x="508735" y="421039"/>
                    </a:cubicBezTo>
                    <a:cubicBezTo>
                      <a:pt x="518260" y="411514"/>
                      <a:pt x="510640" y="401037"/>
                      <a:pt x="501115" y="395322"/>
                    </a:cubicBezTo>
                    <a:cubicBezTo>
                      <a:pt x="435393" y="357222"/>
                      <a:pt x="382053" y="297214"/>
                      <a:pt x="300138" y="288642"/>
                    </a:cubicBezTo>
                    <a:cubicBezTo>
                      <a:pt x="276325" y="286737"/>
                      <a:pt x="253465" y="265782"/>
                      <a:pt x="230606" y="253399"/>
                    </a:cubicBezTo>
                    <a:cubicBezTo>
                      <a:pt x="195363" y="233397"/>
                      <a:pt x="162978" y="232444"/>
                      <a:pt x="131545" y="262924"/>
                    </a:cubicBezTo>
                    <a:cubicBezTo>
                      <a:pt x="109638" y="283879"/>
                      <a:pt x="80110" y="293404"/>
                      <a:pt x="52488" y="304834"/>
                    </a:cubicBezTo>
                    <a:cubicBezTo>
                      <a:pt x="36295" y="311502"/>
                      <a:pt x="19150" y="313407"/>
                      <a:pt x="6768" y="295309"/>
                    </a:cubicBezTo>
                    <a:cubicBezTo>
                      <a:pt x="-4662" y="277212"/>
                      <a:pt x="-852" y="257209"/>
                      <a:pt x="12483" y="244827"/>
                    </a:cubicBezTo>
                    <a:cubicBezTo>
                      <a:pt x="42963" y="218157"/>
                      <a:pt x="69633" y="188629"/>
                      <a:pt x="97256" y="158149"/>
                    </a:cubicBezTo>
                    <a:cubicBezTo>
                      <a:pt x="111543" y="141957"/>
                      <a:pt x="142023" y="128622"/>
                      <a:pt x="162025" y="164817"/>
                    </a:cubicBezTo>
                    <a:cubicBezTo>
                      <a:pt x="177265" y="191487"/>
                      <a:pt x="200125" y="189582"/>
                      <a:pt x="220128" y="167674"/>
                    </a:cubicBezTo>
                    <a:cubicBezTo>
                      <a:pt x="253465" y="129574"/>
                      <a:pt x="285850" y="89569"/>
                      <a:pt x="308710" y="42897"/>
                    </a:cubicBezTo>
                    <a:cubicBezTo>
                      <a:pt x="318235" y="22894"/>
                      <a:pt x="326808" y="-5681"/>
                      <a:pt x="352525" y="987"/>
                    </a:cubicBezTo>
                    <a:cubicBezTo>
                      <a:pt x="377290" y="7654"/>
                      <a:pt x="364908" y="36229"/>
                      <a:pt x="364908" y="56232"/>
                    </a:cubicBezTo>
                    <a:cubicBezTo>
                      <a:pt x="365860" y="76234"/>
                      <a:pt x="356335" y="90522"/>
                      <a:pt x="343953" y="104809"/>
                    </a:cubicBezTo>
                    <a:cubicBezTo>
                      <a:pt x="324903" y="125764"/>
                      <a:pt x="305853" y="148624"/>
                      <a:pt x="287756" y="170532"/>
                    </a:cubicBezTo>
                    <a:cubicBezTo>
                      <a:pt x="281088" y="179104"/>
                      <a:pt x="262038" y="188629"/>
                      <a:pt x="277278" y="201964"/>
                    </a:cubicBezTo>
                    <a:cubicBezTo>
                      <a:pt x="293470" y="217204"/>
                      <a:pt x="299185" y="195297"/>
                      <a:pt x="305853" y="187677"/>
                    </a:cubicBezTo>
                    <a:cubicBezTo>
                      <a:pt x="347763" y="134337"/>
                      <a:pt x="388720" y="80044"/>
                      <a:pt x="427773" y="24799"/>
                    </a:cubicBezTo>
                    <a:cubicBezTo>
                      <a:pt x="444918" y="987"/>
                      <a:pt x="458253" y="-918"/>
                      <a:pt x="476350" y="20037"/>
                    </a:cubicBezTo>
                    <a:cubicBezTo>
                      <a:pt x="484923" y="30514"/>
                      <a:pt x="492543" y="38134"/>
                      <a:pt x="508735" y="37182"/>
                    </a:cubicBezTo>
                    <a:cubicBezTo>
                      <a:pt x="527785" y="36229"/>
                      <a:pt x="536358" y="53374"/>
                      <a:pt x="543978" y="69567"/>
                    </a:cubicBezTo>
                    <a:cubicBezTo>
                      <a:pt x="559218" y="104809"/>
                      <a:pt x="570648" y="107667"/>
                      <a:pt x="597318" y="83854"/>
                    </a:cubicBezTo>
                    <a:cubicBezTo>
                      <a:pt x="609700" y="72424"/>
                      <a:pt x="620178" y="50517"/>
                      <a:pt x="642085" y="62899"/>
                    </a:cubicBezTo>
                    <a:cubicBezTo>
                      <a:pt x="661135" y="73377"/>
                      <a:pt x="661135" y="97189"/>
                      <a:pt x="662088" y="115287"/>
                    </a:cubicBezTo>
                    <a:cubicBezTo>
                      <a:pt x="663993" y="138147"/>
                      <a:pt x="645895" y="143862"/>
                      <a:pt x="627798" y="152434"/>
                    </a:cubicBezTo>
                    <a:cubicBezTo>
                      <a:pt x="611606" y="160054"/>
                      <a:pt x="586840" y="148624"/>
                      <a:pt x="581125" y="181962"/>
                    </a:cubicBezTo>
                    <a:cubicBezTo>
                      <a:pt x="574458" y="218157"/>
                      <a:pt x="584935" y="240064"/>
                      <a:pt x="620178" y="259114"/>
                    </a:cubicBezTo>
                    <a:close/>
                  </a:path>
                </a:pathLst>
              </a:custGeom>
              <a:solidFill>
                <a:srgbClr val="03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7" name="任意多边形: 形状 146"/>
              <p:cNvSpPr/>
              <p:nvPr/>
            </p:nvSpPr>
            <p:spPr>
              <a:xfrm>
                <a:off x="4617449" y="1809257"/>
                <a:ext cx="638974" cy="719052"/>
              </a:xfrm>
              <a:custGeom>
                <a:avLst/>
                <a:gdLst>
                  <a:gd name="connsiteX0" fmla="*/ 268910 w 638974"/>
                  <a:gd name="connsiteY0" fmla="*/ 558284 h 719052"/>
                  <a:gd name="connsiteX1" fmla="*/ 204140 w 638974"/>
                  <a:gd name="connsiteY1" fmla="*/ 611624 h 719052"/>
                  <a:gd name="connsiteX2" fmla="*/ 196521 w 638974"/>
                  <a:gd name="connsiteY2" fmla="*/ 608767 h 719052"/>
                  <a:gd name="connsiteX3" fmla="*/ 30785 w 638974"/>
                  <a:gd name="connsiteY3" fmla="*/ 447794 h 719052"/>
                  <a:gd name="connsiteX4" fmla="*/ 46978 w 638974"/>
                  <a:gd name="connsiteY4" fmla="*/ 390644 h 719052"/>
                  <a:gd name="connsiteX5" fmla="*/ 87935 w 638974"/>
                  <a:gd name="connsiteY5" fmla="*/ 324922 h 719052"/>
                  <a:gd name="connsiteX6" fmla="*/ 88888 w 638974"/>
                  <a:gd name="connsiteY6" fmla="*/ 321112 h 719052"/>
                  <a:gd name="connsiteX7" fmla="*/ 106033 w 638974"/>
                  <a:gd name="connsiteY7" fmla="*/ 247769 h 719052"/>
                  <a:gd name="connsiteX8" fmla="*/ 29833 w 638974"/>
                  <a:gd name="connsiteY8" fmla="*/ 176332 h 719052"/>
                  <a:gd name="connsiteX9" fmla="*/ 306 w 638974"/>
                  <a:gd name="connsiteY9" fmla="*/ 118229 h 719052"/>
                  <a:gd name="connsiteX10" fmla="*/ 39358 w 638974"/>
                  <a:gd name="connsiteY10" fmla="*/ 65842 h 719052"/>
                  <a:gd name="connsiteX11" fmla="*/ 106985 w 638974"/>
                  <a:gd name="connsiteY11" fmla="*/ 79177 h 719052"/>
                  <a:gd name="connsiteX12" fmla="*/ 123178 w 638974"/>
                  <a:gd name="connsiteY12" fmla="*/ 96322 h 719052"/>
                  <a:gd name="connsiteX13" fmla="*/ 221285 w 638974"/>
                  <a:gd name="connsiteY13" fmla="*/ 82034 h 719052"/>
                  <a:gd name="connsiteX14" fmla="*/ 231763 w 638974"/>
                  <a:gd name="connsiteY14" fmla="*/ 61079 h 719052"/>
                  <a:gd name="connsiteX15" fmla="*/ 355588 w 638974"/>
                  <a:gd name="connsiteY15" fmla="*/ 7739 h 719052"/>
                  <a:gd name="connsiteX16" fmla="*/ 379401 w 638974"/>
                  <a:gd name="connsiteY16" fmla="*/ 64889 h 719052"/>
                  <a:gd name="connsiteX17" fmla="*/ 375590 w 638974"/>
                  <a:gd name="connsiteY17" fmla="*/ 130612 h 719052"/>
                  <a:gd name="connsiteX18" fmla="*/ 397498 w 638974"/>
                  <a:gd name="connsiteY18" fmla="*/ 161092 h 719052"/>
                  <a:gd name="connsiteX19" fmla="*/ 420358 w 638974"/>
                  <a:gd name="connsiteY19" fmla="*/ 251579 h 719052"/>
                  <a:gd name="connsiteX20" fmla="*/ 397498 w 638974"/>
                  <a:gd name="connsiteY20" fmla="*/ 283012 h 719052"/>
                  <a:gd name="connsiteX21" fmla="*/ 407023 w 638974"/>
                  <a:gd name="connsiteY21" fmla="*/ 391597 h 719052"/>
                  <a:gd name="connsiteX22" fmla="*/ 587046 w 638974"/>
                  <a:gd name="connsiteY22" fmla="*/ 592574 h 719052"/>
                  <a:gd name="connsiteX23" fmla="*/ 633718 w 638974"/>
                  <a:gd name="connsiteY23" fmla="*/ 669727 h 719052"/>
                  <a:gd name="connsiteX24" fmla="*/ 629908 w 638974"/>
                  <a:gd name="connsiteY24" fmla="*/ 713542 h 719052"/>
                  <a:gd name="connsiteX25" fmla="*/ 588951 w 638974"/>
                  <a:gd name="connsiteY25" fmla="*/ 711637 h 719052"/>
                  <a:gd name="connsiteX26" fmla="*/ 507035 w 638974"/>
                  <a:gd name="connsiteY26" fmla="*/ 652582 h 719052"/>
                  <a:gd name="connsiteX27" fmla="*/ 326060 w 638974"/>
                  <a:gd name="connsiteY27" fmla="*/ 474464 h 719052"/>
                  <a:gd name="connsiteX28" fmla="*/ 285103 w 638974"/>
                  <a:gd name="connsiteY28" fmla="*/ 483989 h 719052"/>
                  <a:gd name="connsiteX29" fmla="*/ 268910 w 638974"/>
                  <a:gd name="connsiteY29" fmla="*/ 558284 h 71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638974" h="719052">
                    <a:moveTo>
                      <a:pt x="268910" y="558284"/>
                    </a:moveTo>
                    <a:cubicBezTo>
                      <a:pt x="271768" y="606862"/>
                      <a:pt x="246051" y="626864"/>
                      <a:pt x="204140" y="611624"/>
                    </a:cubicBezTo>
                    <a:cubicBezTo>
                      <a:pt x="201283" y="610672"/>
                      <a:pt x="199378" y="608767"/>
                      <a:pt x="196521" y="608767"/>
                    </a:cubicBezTo>
                    <a:cubicBezTo>
                      <a:pt x="89841" y="607814"/>
                      <a:pt x="73648" y="512564"/>
                      <a:pt x="30785" y="447794"/>
                    </a:cubicBezTo>
                    <a:cubicBezTo>
                      <a:pt x="15545" y="424934"/>
                      <a:pt x="26976" y="400169"/>
                      <a:pt x="46978" y="390644"/>
                    </a:cubicBezTo>
                    <a:cubicBezTo>
                      <a:pt x="77458" y="376357"/>
                      <a:pt x="83173" y="352544"/>
                      <a:pt x="87935" y="324922"/>
                    </a:cubicBezTo>
                    <a:cubicBezTo>
                      <a:pt x="87935" y="323969"/>
                      <a:pt x="88888" y="322064"/>
                      <a:pt x="88888" y="321112"/>
                    </a:cubicBezTo>
                    <a:cubicBezTo>
                      <a:pt x="95556" y="296347"/>
                      <a:pt x="115558" y="263962"/>
                      <a:pt x="106033" y="247769"/>
                    </a:cubicBezTo>
                    <a:cubicBezTo>
                      <a:pt x="89841" y="218242"/>
                      <a:pt x="59360" y="194429"/>
                      <a:pt x="29833" y="176332"/>
                    </a:cubicBezTo>
                    <a:cubicBezTo>
                      <a:pt x="5068" y="161092"/>
                      <a:pt x="-1599" y="142994"/>
                      <a:pt x="306" y="118229"/>
                    </a:cubicBezTo>
                    <a:cubicBezTo>
                      <a:pt x="3163" y="93464"/>
                      <a:pt x="12688" y="72509"/>
                      <a:pt x="39358" y="65842"/>
                    </a:cubicBezTo>
                    <a:cubicBezTo>
                      <a:pt x="64123" y="59174"/>
                      <a:pt x="87935" y="54412"/>
                      <a:pt x="106985" y="79177"/>
                    </a:cubicBezTo>
                    <a:cubicBezTo>
                      <a:pt x="111748" y="85844"/>
                      <a:pt x="117463" y="90607"/>
                      <a:pt x="123178" y="96322"/>
                    </a:cubicBezTo>
                    <a:cubicBezTo>
                      <a:pt x="170803" y="144899"/>
                      <a:pt x="186043" y="142994"/>
                      <a:pt x="221285" y="82034"/>
                    </a:cubicBezTo>
                    <a:cubicBezTo>
                      <a:pt x="225096" y="75367"/>
                      <a:pt x="228906" y="68699"/>
                      <a:pt x="231763" y="61079"/>
                    </a:cubicBezTo>
                    <a:cubicBezTo>
                      <a:pt x="254623" y="9644"/>
                      <a:pt x="304153" y="-13216"/>
                      <a:pt x="355588" y="7739"/>
                    </a:cubicBezTo>
                    <a:cubicBezTo>
                      <a:pt x="381306" y="18217"/>
                      <a:pt x="390831" y="38219"/>
                      <a:pt x="379401" y="64889"/>
                    </a:cubicBezTo>
                    <a:cubicBezTo>
                      <a:pt x="370828" y="86797"/>
                      <a:pt x="372733" y="108704"/>
                      <a:pt x="375590" y="130612"/>
                    </a:cubicBezTo>
                    <a:cubicBezTo>
                      <a:pt x="377496" y="144899"/>
                      <a:pt x="385115" y="154424"/>
                      <a:pt x="397498" y="161092"/>
                    </a:cubicBezTo>
                    <a:cubicBezTo>
                      <a:pt x="438456" y="182047"/>
                      <a:pt x="447028" y="214432"/>
                      <a:pt x="420358" y="251579"/>
                    </a:cubicBezTo>
                    <a:cubicBezTo>
                      <a:pt x="412738" y="262057"/>
                      <a:pt x="404165" y="271582"/>
                      <a:pt x="397498" y="283012"/>
                    </a:cubicBezTo>
                    <a:cubicBezTo>
                      <a:pt x="367018" y="333494"/>
                      <a:pt x="368923" y="348734"/>
                      <a:pt x="407023" y="391597"/>
                    </a:cubicBezTo>
                    <a:cubicBezTo>
                      <a:pt x="467031" y="458272"/>
                      <a:pt x="527038" y="525899"/>
                      <a:pt x="587046" y="592574"/>
                    </a:cubicBezTo>
                    <a:cubicBezTo>
                      <a:pt x="607048" y="615434"/>
                      <a:pt x="623240" y="641152"/>
                      <a:pt x="633718" y="669727"/>
                    </a:cubicBezTo>
                    <a:cubicBezTo>
                      <a:pt x="638481" y="684014"/>
                      <a:pt x="644196" y="702112"/>
                      <a:pt x="629908" y="713542"/>
                    </a:cubicBezTo>
                    <a:cubicBezTo>
                      <a:pt x="617526" y="724019"/>
                      <a:pt x="601333" y="717352"/>
                      <a:pt x="588951" y="711637"/>
                    </a:cubicBezTo>
                    <a:cubicBezTo>
                      <a:pt x="557518" y="697349"/>
                      <a:pt x="530848" y="676394"/>
                      <a:pt x="507035" y="652582"/>
                    </a:cubicBezTo>
                    <a:cubicBezTo>
                      <a:pt x="447028" y="592574"/>
                      <a:pt x="379401" y="540187"/>
                      <a:pt x="326060" y="474464"/>
                    </a:cubicBezTo>
                    <a:cubicBezTo>
                      <a:pt x="304153" y="447794"/>
                      <a:pt x="291771" y="459224"/>
                      <a:pt x="285103" y="483989"/>
                    </a:cubicBezTo>
                    <a:cubicBezTo>
                      <a:pt x="282246" y="509707"/>
                      <a:pt x="263196" y="533519"/>
                      <a:pt x="268910" y="558284"/>
                    </a:cubicBezTo>
                    <a:close/>
                  </a:path>
                </a:pathLst>
              </a:custGeom>
              <a:solidFill>
                <a:srgbClr val="0258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8" name="任意多边形: 形状 147"/>
              <p:cNvSpPr/>
              <p:nvPr/>
            </p:nvSpPr>
            <p:spPr>
              <a:xfrm>
                <a:off x="4918745" y="4834202"/>
                <a:ext cx="1117282" cy="691829"/>
              </a:xfrm>
              <a:custGeom>
                <a:avLst/>
                <a:gdLst>
                  <a:gd name="connsiteX0" fmla="*/ 163830 w 1117282"/>
                  <a:gd name="connsiteY0" fmla="*/ 398460 h 691829"/>
                  <a:gd name="connsiteX1" fmla="*/ 69532 w 1117282"/>
                  <a:gd name="connsiteY1" fmla="*/ 334642 h 691829"/>
                  <a:gd name="connsiteX2" fmla="*/ 0 w 1117282"/>
                  <a:gd name="connsiteY2" fmla="*/ 307019 h 691829"/>
                  <a:gd name="connsiteX3" fmla="*/ 75247 w 1117282"/>
                  <a:gd name="connsiteY3" fmla="*/ 182242 h 691829"/>
                  <a:gd name="connsiteX4" fmla="*/ 77152 w 1117282"/>
                  <a:gd name="connsiteY4" fmla="*/ 286064 h 691829"/>
                  <a:gd name="connsiteX5" fmla="*/ 139065 w 1117282"/>
                  <a:gd name="connsiteY5" fmla="*/ 367027 h 691829"/>
                  <a:gd name="connsiteX6" fmla="*/ 208597 w 1117282"/>
                  <a:gd name="connsiteY6" fmla="*/ 359407 h 691829"/>
                  <a:gd name="connsiteX7" fmla="*/ 220980 w 1117282"/>
                  <a:gd name="connsiteY7" fmla="*/ 291779 h 691829"/>
                  <a:gd name="connsiteX8" fmla="*/ 160020 w 1117282"/>
                  <a:gd name="connsiteY8" fmla="*/ 183194 h 691829"/>
                  <a:gd name="connsiteX9" fmla="*/ 161925 w 1117282"/>
                  <a:gd name="connsiteY9" fmla="*/ 43177 h 691829"/>
                  <a:gd name="connsiteX10" fmla="*/ 337185 w 1117282"/>
                  <a:gd name="connsiteY10" fmla="*/ 30794 h 691829"/>
                  <a:gd name="connsiteX11" fmla="*/ 422910 w 1117282"/>
                  <a:gd name="connsiteY11" fmla="*/ 86039 h 691829"/>
                  <a:gd name="connsiteX12" fmla="*/ 623888 w 1117282"/>
                  <a:gd name="connsiteY12" fmla="*/ 178432 h 691829"/>
                  <a:gd name="connsiteX13" fmla="*/ 833438 w 1117282"/>
                  <a:gd name="connsiteY13" fmla="*/ 247012 h 691829"/>
                  <a:gd name="connsiteX14" fmla="*/ 873443 w 1117282"/>
                  <a:gd name="connsiteY14" fmla="*/ 277492 h 691829"/>
                  <a:gd name="connsiteX15" fmla="*/ 982980 w 1117282"/>
                  <a:gd name="connsiteY15" fmla="*/ 488947 h 691829"/>
                  <a:gd name="connsiteX16" fmla="*/ 1005840 w 1117282"/>
                  <a:gd name="connsiteY16" fmla="*/ 529904 h 691829"/>
                  <a:gd name="connsiteX17" fmla="*/ 1038225 w 1117282"/>
                  <a:gd name="connsiteY17" fmla="*/ 342262 h 691829"/>
                  <a:gd name="connsiteX18" fmla="*/ 993457 w 1117282"/>
                  <a:gd name="connsiteY18" fmla="*/ 276539 h 691829"/>
                  <a:gd name="connsiteX19" fmla="*/ 1117282 w 1117282"/>
                  <a:gd name="connsiteY19" fmla="*/ 298447 h 691829"/>
                  <a:gd name="connsiteX20" fmla="*/ 1047750 w 1117282"/>
                  <a:gd name="connsiteY20" fmla="*/ 425129 h 691829"/>
                  <a:gd name="connsiteX21" fmla="*/ 994410 w 1117282"/>
                  <a:gd name="connsiteY21" fmla="*/ 691829 h 691829"/>
                  <a:gd name="connsiteX22" fmla="*/ 784860 w 1117282"/>
                  <a:gd name="connsiteY22" fmla="*/ 316544 h 691829"/>
                  <a:gd name="connsiteX23" fmla="*/ 754380 w 1117282"/>
                  <a:gd name="connsiteY23" fmla="*/ 487042 h 691829"/>
                  <a:gd name="connsiteX24" fmla="*/ 742950 w 1117282"/>
                  <a:gd name="connsiteY24" fmla="*/ 552764 h 691829"/>
                  <a:gd name="connsiteX25" fmla="*/ 782955 w 1117282"/>
                  <a:gd name="connsiteY25" fmla="*/ 639442 h 691829"/>
                  <a:gd name="connsiteX26" fmla="*/ 647700 w 1117282"/>
                  <a:gd name="connsiteY26" fmla="*/ 612772 h 691829"/>
                  <a:gd name="connsiteX27" fmla="*/ 720090 w 1117282"/>
                  <a:gd name="connsiteY27" fmla="*/ 556575 h 691829"/>
                  <a:gd name="connsiteX28" fmla="*/ 763905 w 1117282"/>
                  <a:gd name="connsiteY28" fmla="*/ 302257 h 691829"/>
                  <a:gd name="connsiteX29" fmla="*/ 756285 w 1117282"/>
                  <a:gd name="connsiteY29" fmla="*/ 266062 h 691829"/>
                  <a:gd name="connsiteX30" fmla="*/ 726757 w 1117282"/>
                  <a:gd name="connsiteY30" fmla="*/ 242250 h 691829"/>
                  <a:gd name="connsiteX31" fmla="*/ 705802 w 1117282"/>
                  <a:gd name="connsiteY31" fmla="*/ 269872 h 691829"/>
                  <a:gd name="connsiteX32" fmla="*/ 678180 w 1117282"/>
                  <a:gd name="connsiteY32" fmla="*/ 332737 h 691829"/>
                  <a:gd name="connsiteX33" fmla="*/ 671513 w 1117282"/>
                  <a:gd name="connsiteY33" fmla="*/ 317497 h 691829"/>
                  <a:gd name="connsiteX34" fmla="*/ 562927 w 1117282"/>
                  <a:gd name="connsiteY34" fmla="*/ 182242 h 691829"/>
                  <a:gd name="connsiteX35" fmla="*/ 541020 w 1117282"/>
                  <a:gd name="connsiteY35" fmla="*/ 197482 h 691829"/>
                  <a:gd name="connsiteX36" fmla="*/ 497205 w 1117282"/>
                  <a:gd name="connsiteY36" fmla="*/ 306067 h 691829"/>
                  <a:gd name="connsiteX37" fmla="*/ 512445 w 1117282"/>
                  <a:gd name="connsiteY37" fmla="*/ 332737 h 691829"/>
                  <a:gd name="connsiteX38" fmla="*/ 568643 w 1117282"/>
                  <a:gd name="connsiteY38" fmla="*/ 313687 h 691829"/>
                  <a:gd name="connsiteX39" fmla="*/ 609600 w 1117282"/>
                  <a:gd name="connsiteY39" fmla="*/ 276539 h 691829"/>
                  <a:gd name="connsiteX40" fmla="*/ 533400 w 1117282"/>
                  <a:gd name="connsiteY40" fmla="*/ 476564 h 691829"/>
                  <a:gd name="connsiteX41" fmla="*/ 530543 w 1117282"/>
                  <a:gd name="connsiteY41" fmla="*/ 440369 h 691829"/>
                  <a:gd name="connsiteX42" fmla="*/ 515302 w 1117282"/>
                  <a:gd name="connsiteY42" fmla="*/ 369885 h 691829"/>
                  <a:gd name="connsiteX43" fmla="*/ 468630 w 1117282"/>
                  <a:gd name="connsiteY43" fmla="*/ 377504 h 691829"/>
                  <a:gd name="connsiteX44" fmla="*/ 432435 w 1117282"/>
                  <a:gd name="connsiteY44" fmla="*/ 476564 h 691829"/>
                  <a:gd name="connsiteX45" fmla="*/ 453390 w 1117282"/>
                  <a:gd name="connsiteY45" fmla="*/ 523237 h 691829"/>
                  <a:gd name="connsiteX46" fmla="*/ 648652 w 1117282"/>
                  <a:gd name="connsiteY46" fmla="*/ 491804 h 691829"/>
                  <a:gd name="connsiteX47" fmla="*/ 593407 w 1117282"/>
                  <a:gd name="connsiteY47" fmla="*/ 589912 h 691829"/>
                  <a:gd name="connsiteX48" fmla="*/ 573405 w 1117282"/>
                  <a:gd name="connsiteY48" fmla="*/ 597532 h 691829"/>
                  <a:gd name="connsiteX49" fmla="*/ 272415 w 1117282"/>
                  <a:gd name="connsiteY49" fmla="*/ 472754 h 691829"/>
                  <a:gd name="connsiteX50" fmla="*/ 328613 w 1117282"/>
                  <a:gd name="connsiteY50" fmla="*/ 465135 h 691829"/>
                  <a:gd name="connsiteX51" fmla="*/ 353377 w 1117282"/>
                  <a:gd name="connsiteY51" fmla="*/ 407985 h 691829"/>
                  <a:gd name="connsiteX52" fmla="*/ 445770 w 1117282"/>
                  <a:gd name="connsiteY52" fmla="*/ 171764 h 691829"/>
                  <a:gd name="connsiteX53" fmla="*/ 444817 w 1117282"/>
                  <a:gd name="connsiteY53" fmla="*/ 132712 h 691829"/>
                  <a:gd name="connsiteX54" fmla="*/ 397192 w 1117282"/>
                  <a:gd name="connsiteY54" fmla="*/ 135569 h 691829"/>
                  <a:gd name="connsiteX55" fmla="*/ 355282 w 1117282"/>
                  <a:gd name="connsiteY55" fmla="*/ 199387 h 691829"/>
                  <a:gd name="connsiteX56" fmla="*/ 350520 w 1117282"/>
                  <a:gd name="connsiteY56" fmla="*/ 99375 h 691829"/>
                  <a:gd name="connsiteX57" fmla="*/ 303847 w 1117282"/>
                  <a:gd name="connsiteY57" fmla="*/ 43177 h 691829"/>
                  <a:gd name="connsiteX58" fmla="*/ 238125 w 1117282"/>
                  <a:gd name="connsiteY58" fmla="*/ 45082 h 691829"/>
                  <a:gd name="connsiteX59" fmla="*/ 226695 w 1117282"/>
                  <a:gd name="connsiteY59" fmla="*/ 108900 h 691829"/>
                  <a:gd name="connsiteX60" fmla="*/ 282892 w 1117282"/>
                  <a:gd name="connsiteY60" fmla="*/ 207960 h 691829"/>
                  <a:gd name="connsiteX61" fmla="*/ 310515 w 1117282"/>
                  <a:gd name="connsiteY61" fmla="*/ 276539 h 691829"/>
                  <a:gd name="connsiteX62" fmla="*/ 218122 w 1117282"/>
                  <a:gd name="connsiteY62" fmla="*/ 404175 h 691829"/>
                  <a:gd name="connsiteX63" fmla="*/ 163830 w 1117282"/>
                  <a:gd name="connsiteY63" fmla="*/ 398460 h 69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1117282" h="691829">
                    <a:moveTo>
                      <a:pt x="163830" y="398460"/>
                    </a:moveTo>
                    <a:cubicBezTo>
                      <a:pt x="122872" y="391792"/>
                      <a:pt x="92392" y="367979"/>
                      <a:pt x="69532" y="334642"/>
                    </a:cubicBezTo>
                    <a:cubicBezTo>
                      <a:pt x="52388" y="310829"/>
                      <a:pt x="35242" y="295589"/>
                      <a:pt x="0" y="307019"/>
                    </a:cubicBezTo>
                    <a:cubicBezTo>
                      <a:pt x="24765" y="265110"/>
                      <a:pt x="50482" y="224152"/>
                      <a:pt x="75247" y="182242"/>
                    </a:cubicBezTo>
                    <a:cubicBezTo>
                      <a:pt x="80963" y="218437"/>
                      <a:pt x="66675" y="251775"/>
                      <a:pt x="77152" y="286064"/>
                    </a:cubicBezTo>
                    <a:cubicBezTo>
                      <a:pt x="87630" y="321307"/>
                      <a:pt x="104775" y="350835"/>
                      <a:pt x="139065" y="367027"/>
                    </a:cubicBezTo>
                    <a:cubicBezTo>
                      <a:pt x="163830" y="378457"/>
                      <a:pt x="187642" y="378457"/>
                      <a:pt x="208597" y="359407"/>
                    </a:cubicBezTo>
                    <a:cubicBezTo>
                      <a:pt x="229552" y="340357"/>
                      <a:pt x="231457" y="317497"/>
                      <a:pt x="220980" y="291779"/>
                    </a:cubicBezTo>
                    <a:cubicBezTo>
                      <a:pt x="204788" y="252727"/>
                      <a:pt x="179070" y="220342"/>
                      <a:pt x="160020" y="183194"/>
                    </a:cubicBezTo>
                    <a:cubicBezTo>
                      <a:pt x="136207" y="136522"/>
                      <a:pt x="127635" y="87944"/>
                      <a:pt x="161925" y="43177"/>
                    </a:cubicBezTo>
                    <a:cubicBezTo>
                      <a:pt x="202882" y="-11115"/>
                      <a:pt x="277177" y="-13021"/>
                      <a:pt x="337185" y="30794"/>
                    </a:cubicBezTo>
                    <a:cubicBezTo>
                      <a:pt x="363855" y="50797"/>
                      <a:pt x="366713" y="110804"/>
                      <a:pt x="422910" y="86039"/>
                    </a:cubicBezTo>
                    <a:cubicBezTo>
                      <a:pt x="480060" y="138427"/>
                      <a:pt x="557213" y="147000"/>
                      <a:pt x="623888" y="178432"/>
                    </a:cubicBezTo>
                    <a:cubicBezTo>
                      <a:pt x="690563" y="209864"/>
                      <a:pt x="759143" y="240344"/>
                      <a:pt x="833438" y="247012"/>
                    </a:cubicBezTo>
                    <a:cubicBezTo>
                      <a:pt x="855345" y="248917"/>
                      <a:pt x="864870" y="260347"/>
                      <a:pt x="873443" y="277492"/>
                    </a:cubicBezTo>
                    <a:cubicBezTo>
                      <a:pt x="909638" y="347977"/>
                      <a:pt x="945832" y="418462"/>
                      <a:pt x="982980" y="488947"/>
                    </a:cubicBezTo>
                    <a:cubicBezTo>
                      <a:pt x="988695" y="500377"/>
                      <a:pt x="995363" y="510854"/>
                      <a:pt x="1005840" y="529904"/>
                    </a:cubicBezTo>
                    <a:cubicBezTo>
                      <a:pt x="1017270" y="461325"/>
                      <a:pt x="1027747" y="401317"/>
                      <a:pt x="1038225" y="342262"/>
                    </a:cubicBezTo>
                    <a:cubicBezTo>
                      <a:pt x="1044893" y="306067"/>
                      <a:pt x="1017270" y="294637"/>
                      <a:pt x="993457" y="276539"/>
                    </a:cubicBezTo>
                    <a:cubicBezTo>
                      <a:pt x="1034415" y="284160"/>
                      <a:pt x="1075373" y="290827"/>
                      <a:pt x="1117282" y="298447"/>
                    </a:cubicBezTo>
                    <a:cubicBezTo>
                      <a:pt x="1038225" y="310829"/>
                      <a:pt x="1058228" y="378457"/>
                      <a:pt x="1047750" y="425129"/>
                    </a:cubicBezTo>
                    <a:cubicBezTo>
                      <a:pt x="1028700" y="512760"/>
                      <a:pt x="1015365" y="602294"/>
                      <a:pt x="994410" y="691829"/>
                    </a:cubicBezTo>
                    <a:cubicBezTo>
                      <a:pt x="917257" y="574672"/>
                      <a:pt x="855345" y="450847"/>
                      <a:pt x="784860" y="316544"/>
                    </a:cubicBezTo>
                    <a:cubicBezTo>
                      <a:pt x="773430" y="381314"/>
                      <a:pt x="763905" y="434654"/>
                      <a:pt x="754380" y="487042"/>
                    </a:cubicBezTo>
                    <a:cubicBezTo>
                      <a:pt x="750570" y="508950"/>
                      <a:pt x="747713" y="530857"/>
                      <a:pt x="742950" y="552764"/>
                    </a:cubicBezTo>
                    <a:cubicBezTo>
                      <a:pt x="732472" y="605152"/>
                      <a:pt x="736282" y="614677"/>
                      <a:pt x="782955" y="639442"/>
                    </a:cubicBezTo>
                    <a:cubicBezTo>
                      <a:pt x="750570" y="644204"/>
                      <a:pt x="678180" y="630869"/>
                      <a:pt x="647700" y="612772"/>
                    </a:cubicBezTo>
                    <a:cubicBezTo>
                      <a:pt x="695325" y="619439"/>
                      <a:pt x="714375" y="595627"/>
                      <a:pt x="720090" y="556575"/>
                    </a:cubicBezTo>
                    <a:cubicBezTo>
                      <a:pt x="734377" y="471802"/>
                      <a:pt x="747713" y="387029"/>
                      <a:pt x="763905" y="302257"/>
                    </a:cubicBezTo>
                    <a:cubicBezTo>
                      <a:pt x="766763" y="287969"/>
                      <a:pt x="764857" y="276539"/>
                      <a:pt x="756285" y="266062"/>
                    </a:cubicBezTo>
                    <a:cubicBezTo>
                      <a:pt x="748665" y="255585"/>
                      <a:pt x="741997" y="243202"/>
                      <a:pt x="726757" y="242250"/>
                    </a:cubicBezTo>
                    <a:cubicBezTo>
                      <a:pt x="708660" y="242250"/>
                      <a:pt x="710565" y="258442"/>
                      <a:pt x="705802" y="269872"/>
                    </a:cubicBezTo>
                    <a:cubicBezTo>
                      <a:pt x="697230" y="288922"/>
                      <a:pt x="688657" y="308925"/>
                      <a:pt x="678180" y="332737"/>
                    </a:cubicBezTo>
                    <a:cubicBezTo>
                      <a:pt x="674370" y="324164"/>
                      <a:pt x="671513" y="320354"/>
                      <a:pt x="671513" y="317497"/>
                    </a:cubicBezTo>
                    <a:cubicBezTo>
                      <a:pt x="676275" y="242250"/>
                      <a:pt x="639127" y="196529"/>
                      <a:pt x="562927" y="182242"/>
                    </a:cubicBezTo>
                    <a:cubicBezTo>
                      <a:pt x="547688" y="179385"/>
                      <a:pt x="545782" y="187004"/>
                      <a:pt x="541020" y="197482"/>
                    </a:cubicBezTo>
                    <a:cubicBezTo>
                      <a:pt x="526732" y="233677"/>
                      <a:pt x="512445" y="269872"/>
                      <a:pt x="497205" y="306067"/>
                    </a:cubicBezTo>
                    <a:cubicBezTo>
                      <a:pt x="489585" y="323212"/>
                      <a:pt x="496252" y="328927"/>
                      <a:pt x="512445" y="332737"/>
                    </a:cubicBezTo>
                    <a:cubicBezTo>
                      <a:pt x="536257" y="338452"/>
                      <a:pt x="553402" y="329879"/>
                      <a:pt x="568643" y="313687"/>
                    </a:cubicBezTo>
                    <a:cubicBezTo>
                      <a:pt x="581025" y="300352"/>
                      <a:pt x="591502" y="286064"/>
                      <a:pt x="609600" y="276539"/>
                    </a:cubicBezTo>
                    <a:cubicBezTo>
                      <a:pt x="584835" y="341310"/>
                      <a:pt x="560070" y="407032"/>
                      <a:pt x="533400" y="476564"/>
                    </a:cubicBezTo>
                    <a:cubicBezTo>
                      <a:pt x="521970" y="459419"/>
                      <a:pt x="529590" y="449894"/>
                      <a:pt x="530543" y="440369"/>
                    </a:cubicBezTo>
                    <a:cubicBezTo>
                      <a:pt x="534352" y="414652"/>
                      <a:pt x="532447" y="389887"/>
                      <a:pt x="515302" y="369885"/>
                    </a:cubicBezTo>
                    <a:cubicBezTo>
                      <a:pt x="494347" y="344167"/>
                      <a:pt x="481013" y="347025"/>
                      <a:pt x="468630" y="377504"/>
                    </a:cubicBezTo>
                    <a:cubicBezTo>
                      <a:pt x="456247" y="409889"/>
                      <a:pt x="443865" y="443227"/>
                      <a:pt x="432435" y="476564"/>
                    </a:cubicBezTo>
                    <a:cubicBezTo>
                      <a:pt x="424815" y="498472"/>
                      <a:pt x="430530" y="512760"/>
                      <a:pt x="453390" y="523237"/>
                    </a:cubicBezTo>
                    <a:cubicBezTo>
                      <a:pt x="527685" y="556575"/>
                      <a:pt x="558165" y="552764"/>
                      <a:pt x="648652" y="491804"/>
                    </a:cubicBezTo>
                    <a:cubicBezTo>
                      <a:pt x="630555" y="524189"/>
                      <a:pt x="612457" y="556575"/>
                      <a:pt x="593407" y="589912"/>
                    </a:cubicBezTo>
                    <a:cubicBezTo>
                      <a:pt x="588645" y="597532"/>
                      <a:pt x="581977" y="601342"/>
                      <a:pt x="573405" y="597532"/>
                    </a:cubicBezTo>
                    <a:cubicBezTo>
                      <a:pt x="472440" y="557527"/>
                      <a:pt x="372427" y="516569"/>
                      <a:pt x="272415" y="472754"/>
                    </a:cubicBezTo>
                    <a:cubicBezTo>
                      <a:pt x="291465" y="466087"/>
                      <a:pt x="313372" y="485137"/>
                      <a:pt x="328613" y="465135"/>
                    </a:cubicBezTo>
                    <a:cubicBezTo>
                      <a:pt x="340995" y="447989"/>
                      <a:pt x="345757" y="427987"/>
                      <a:pt x="353377" y="407985"/>
                    </a:cubicBezTo>
                    <a:cubicBezTo>
                      <a:pt x="382905" y="328927"/>
                      <a:pt x="414338" y="249869"/>
                      <a:pt x="445770" y="171764"/>
                    </a:cubicBezTo>
                    <a:cubicBezTo>
                      <a:pt x="451485" y="157477"/>
                      <a:pt x="457200" y="144142"/>
                      <a:pt x="444817" y="132712"/>
                    </a:cubicBezTo>
                    <a:cubicBezTo>
                      <a:pt x="428625" y="116519"/>
                      <a:pt x="412432" y="105089"/>
                      <a:pt x="397192" y="135569"/>
                    </a:cubicBezTo>
                    <a:cubicBezTo>
                      <a:pt x="385763" y="158429"/>
                      <a:pt x="371475" y="179385"/>
                      <a:pt x="355282" y="199387"/>
                    </a:cubicBezTo>
                    <a:cubicBezTo>
                      <a:pt x="355282" y="165097"/>
                      <a:pt x="365760" y="131760"/>
                      <a:pt x="350520" y="99375"/>
                    </a:cubicBezTo>
                    <a:cubicBezTo>
                      <a:pt x="340042" y="75562"/>
                      <a:pt x="326707" y="55560"/>
                      <a:pt x="303847" y="43177"/>
                    </a:cubicBezTo>
                    <a:cubicBezTo>
                      <a:pt x="281940" y="30794"/>
                      <a:pt x="259080" y="27937"/>
                      <a:pt x="238125" y="45082"/>
                    </a:cubicBezTo>
                    <a:cubicBezTo>
                      <a:pt x="216217" y="63179"/>
                      <a:pt x="216217" y="86992"/>
                      <a:pt x="226695" y="108900"/>
                    </a:cubicBezTo>
                    <a:cubicBezTo>
                      <a:pt x="242888" y="143189"/>
                      <a:pt x="262890" y="174622"/>
                      <a:pt x="282892" y="207960"/>
                    </a:cubicBezTo>
                    <a:cubicBezTo>
                      <a:pt x="295275" y="229867"/>
                      <a:pt x="306705" y="251775"/>
                      <a:pt x="310515" y="276539"/>
                    </a:cubicBezTo>
                    <a:cubicBezTo>
                      <a:pt x="320992" y="340357"/>
                      <a:pt x="283845" y="390839"/>
                      <a:pt x="218122" y="404175"/>
                    </a:cubicBezTo>
                    <a:cubicBezTo>
                      <a:pt x="201930" y="407985"/>
                      <a:pt x="182880" y="409889"/>
                      <a:pt x="163830" y="398460"/>
                    </a:cubicBezTo>
                    <a:close/>
                  </a:path>
                </a:pathLst>
              </a:custGeom>
              <a:solidFill>
                <a:srgbClr val="045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任意多边形: 形状 148"/>
              <p:cNvSpPr/>
              <p:nvPr/>
            </p:nvSpPr>
            <p:spPr>
              <a:xfrm>
                <a:off x="6190986" y="1394607"/>
                <a:ext cx="650856" cy="684210"/>
              </a:xfrm>
              <a:custGeom>
                <a:avLst/>
                <a:gdLst>
                  <a:gd name="connsiteX0" fmla="*/ 650856 w 650856"/>
                  <a:gd name="connsiteY0" fmla="*/ 680517 h 684210"/>
                  <a:gd name="connsiteX1" fmla="*/ 437496 w 650856"/>
                  <a:gd name="connsiteY1" fmla="*/ 656704 h 684210"/>
                  <a:gd name="connsiteX2" fmla="*/ 397491 w 650856"/>
                  <a:gd name="connsiteY2" fmla="*/ 605269 h 684210"/>
                  <a:gd name="connsiteX3" fmla="*/ 316529 w 650856"/>
                  <a:gd name="connsiteY3" fmla="*/ 380479 h 684210"/>
                  <a:gd name="connsiteX4" fmla="*/ 305099 w 650856"/>
                  <a:gd name="connsiteY4" fmla="*/ 352857 h 684210"/>
                  <a:gd name="connsiteX5" fmla="*/ 189846 w 650856"/>
                  <a:gd name="connsiteY5" fmla="*/ 468109 h 684210"/>
                  <a:gd name="connsiteX6" fmla="*/ 110789 w 650856"/>
                  <a:gd name="connsiteY6" fmla="*/ 503352 h 684210"/>
                  <a:gd name="connsiteX7" fmla="*/ 3156 w 650856"/>
                  <a:gd name="connsiteY7" fmla="*/ 427152 h 684210"/>
                  <a:gd name="connsiteX8" fmla="*/ 1251 w 650856"/>
                  <a:gd name="connsiteY8" fmla="*/ 409054 h 684210"/>
                  <a:gd name="connsiteX9" fmla="*/ 19349 w 650856"/>
                  <a:gd name="connsiteY9" fmla="*/ 409054 h 684210"/>
                  <a:gd name="connsiteX10" fmla="*/ 205086 w 650856"/>
                  <a:gd name="connsiteY10" fmla="*/ 349999 h 684210"/>
                  <a:gd name="connsiteX11" fmla="*/ 222231 w 650856"/>
                  <a:gd name="connsiteY11" fmla="*/ 328092 h 684210"/>
                  <a:gd name="connsiteX12" fmla="*/ 192704 w 650856"/>
                  <a:gd name="connsiteY12" fmla="*/ 269037 h 684210"/>
                  <a:gd name="connsiteX13" fmla="*/ 97454 w 650856"/>
                  <a:gd name="connsiteY13" fmla="*/ 158547 h 684210"/>
                  <a:gd name="connsiteX14" fmla="*/ 156509 w 650856"/>
                  <a:gd name="connsiteY14" fmla="*/ 118542 h 684210"/>
                  <a:gd name="connsiteX15" fmla="*/ 264141 w 650856"/>
                  <a:gd name="connsiteY15" fmla="*/ 153784 h 684210"/>
                  <a:gd name="connsiteX16" fmla="*/ 300336 w 650856"/>
                  <a:gd name="connsiteY16" fmla="*/ 130924 h 684210"/>
                  <a:gd name="connsiteX17" fmla="*/ 315576 w 650856"/>
                  <a:gd name="connsiteY17" fmla="*/ 49962 h 684210"/>
                  <a:gd name="connsiteX18" fmla="*/ 348914 w 650856"/>
                  <a:gd name="connsiteY18" fmla="*/ 8052 h 684210"/>
                  <a:gd name="connsiteX19" fmla="*/ 414636 w 650856"/>
                  <a:gd name="connsiteY19" fmla="*/ 12814 h 684210"/>
                  <a:gd name="connsiteX20" fmla="*/ 441306 w 650856"/>
                  <a:gd name="connsiteY20" fmla="*/ 102349 h 684210"/>
                  <a:gd name="connsiteX21" fmla="*/ 432734 w 650856"/>
                  <a:gd name="connsiteY21" fmla="*/ 152832 h 684210"/>
                  <a:gd name="connsiteX22" fmla="*/ 491789 w 650856"/>
                  <a:gd name="connsiteY22" fmla="*/ 158547 h 684210"/>
                  <a:gd name="connsiteX23" fmla="*/ 558464 w 650856"/>
                  <a:gd name="connsiteY23" fmla="*/ 186169 h 684210"/>
                  <a:gd name="connsiteX24" fmla="*/ 537509 w 650856"/>
                  <a:gd name="connsiteY24" fmla="*/ 237604 h 684210"/>
                  <a:gd name="connsiteX25" fmla="*/ 417494 w 650856"/>
                  <a:gd name="connsiteY25" fmla="*/ 256654 h 684210"/>
                  <a:gd name="connsiteX26" fmla="*/ 378441 w 650856"/>
                  <a:gd name="connsiteY26" fmla="*/ 307137 h 684210"/>
                  <a:gd name="connsiteX27" fmla="*/ 613709 w 650856"/>
                  <a:gd name="connsiteY27" fmla="*/ 648132 h 684210"/>
                  <a:gd name="connsiteX28" fmla="*/ 640379 w 650856"/>
                  <a:gd name="connsiteY28" fmla="*/ 665277 h 684210"/>
                  <a:gd name="connsiteX29" fmla="*/ 650856 w 650856"/>
                  <a:gd name="connsiteY29" fmla="*/ 680517 h 684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650856" h="684210">
                    <a:moveTo>
                      <a:pt x="650856" y="680517"/>
                    </a:moveTo>
                    <a:cubicBezTo>
                      <a:pt x="573704" y="689089"/>
                      <a:pt x="505124" y="683374"/>
                      <a:pt x="437496" y="656704"/>
                    </a:cubicBezTo>
                    <a:cubicBezTo>
                      <a:pt x="414636" y="647179"/>
                      <a:pt x="407016" y="625272"/>
                      <a:pt x="397491" y="605269"/>
                    </a:cubicBezTo>
                    <a:cubicBezTo>
                      <a:pt x="364154" y="532879"/>
                      <a:pt x="339389" y="456679"/>
                      <a:pt x="316529" y="380479"/>
                    </a:cubicBezTo>
                    <a:cubicBezTo>
                      <a:pt x="313671" y="371907"/>
                      <a:pt x="309861" y="364287"/>
                      <a:pt x="305099" y="352857"/>
                    </a:cubicBezTo>
                    <a:cubicBezTo>
                      <a:pt x="266046" y="393814"/>
                      <a:pt x="231756" y="435724"/>
                      <a:pt x="189846" y="468109"/>
                    </a:cubicBezTo>
                    <a:cubicBezTo>
                      <a:pt x="166034" y="486207"/>
                      <a:pt x="141269" y="514782"/>
                      <a:pt x="110789" y="503352"/>
                    </a:cubicBezTo>
                    <a:cubicBezTo>
                      <a:pt x="69831" y="487159"/>
                      <a:pt x="33636" y="460489"/>
                      <a:pt x="3156" y="427152"/>
                    </a:cubicBezTo>
                    <a:cubicBezTo>
                      <a:pt x="-654" y="423342"/>
                      <a:pt x="-654" y="413817"/>
                      <a:pt x="1251" y="409054"/>
                    </a:cubicBezTo>
                    <a:cubicBezTo>
                      <a:pt x="5061" y="402387"/>
                      <a:pt x="12681" y="407149"/>
                      <a:pt x="19349" y="409054"/>
                    </a:cubicBezTo>
                    <a:cubicBezTo>
                      <a:pt x="91739" y="423342"/>
                      <a:pt x="153651" y="403339"/>
                      <a:pt x="205086" y="349999"/>
                    </a:cubicBezTo>
                    <a:cubicBezTo>
                      <a:pt x="211754" y="343332"/>
                      <a:pt x="218421" y="336664"/>
                      <a:pt x="222231" y="328092"/>
                    </a:cubicBezTo>
                    <a:cubicBezTo>
                      <a:pt x="244139" y="272847"/>
                      <a:pt x="248901" y="275704"/>
                      <a:pt x="192704" y="269037"/>
                    </a:cubicBezTo>
                    <a:cubicBezTo>
                      <a:pt x="109836" y="259512"/>
                      <a:pt x="89834" y="234747"/>
                      <a:pt x="97454" y="158547"/>
                    </a:cubicBezTo>
                    <a:cubicBezTo>
                      <a:pt x="100311" y="123304"/>
                      <a:pt x="122219" y="109969"/>
                      <a:pt x="156509" y="118542"/>
                    </a:cubicBezTo>
                    <a:cubicBezTo>
                      <a:pt x="193656" y="128067"/>
                      <a:pt x="226041" y="147117"/>
                      <a:pt x="264141" y="153784"/>
                    </a:cubicBezTo>
                    <a:cubicBezTo>
                      <a:pt x="286049" y="157594"/>
                      <a:pt x="296526" y="150927"/>
                      <a:pt x="300336" y="130924"/>
                    </a:cubicBezTo>
                    <a:cubicBezTo>
                      <a:pt x="306051" y="104254"/>
                      <a:pt x="313671" y="77584"/>
                      <a:pt x="315576" y="49962"/>
                    </a:cubicBezTo>
                    <a:cubicBezTo>
                      <a:pt x="317481" y="26149"/>
                      <a:pt x="327006" y="14719"/>
                      <a:pt x="348914" y="8052"/>
                    </a:cubicBezTo>
                    <a:cubicBezTo>
                      <a:pt x="371774" y="1384"/>
                      <a:pt x="396539" y="-8141"/>
                      <a:pt x="414636" y="12814"/>
                    </a:cubicBezTo>
                    <a:cubicBezTo>
                      <a:pt x="436544" y="37579"/>
                      <a:pt x="461309" y="63297"/>
                      <a:pt x="441306" y="102349"/>
                    </a:cubicBezTo>
                    <a:cubicBezTo>
                      <a:pt x="432734" y="117589"/>
                      <a:pt x="417494" y="136639"/>
                      <a:pt x="432734" y="152832"/>
                    </a:cubicBezTo>
                    <a:cubicBezTo>
                      <a:pt x="447974" y="169977"/>
                      <a:pt x="474644" y="165214"/>
                      <a:pt x="491789" y="158547"/>
                    </a:cubicBezTo>
                    <a:cubicBezTo>
                      <a:pt x="526079" y="145212"/>
                      <a:pt x="542271" y="159499"/>
                      <a:pt x="558464" y="186169"/>
                    </a:cubicBezTo>
                    <a:cubicBezTo>
                      <a:pt x="575609" y="214744"/>
                      <a:pt x="565131" y="230937"/>
                      <a:pt x="537509" y="237604"/>
                    </a:cubicBezTo>
                    <a:cubicBezTo>
                      <a:pt x="498456" y="247129"/>
                      <a:pt x="458451" y="256654"/>
                      <a:pt x="417494" y="256654"/>
                    </a:cubicBezTo>
                    <a:cubicBezTo>
                      <a:pt x="386061" y="256654"/>
                      <a:pt x="367964" y="266179"/>
                      <a:pt x="378441" y="307137"/>
                    </a:cubicBezTo>
                    <a:cubicBezTo>
                      <a:pt x="414636" y="450964"/>
                      <a:pt x="479406" y="572884"/>
                      <a:pt x="613709" y="648132"/>
                    </a:cubicBezTo>
                    <a:cubicBezTo>
                      <a:pt x="623234" y="652894"/>
                      <a:pt x="631806" y="659562"/>
                      <a:pt x="640379" y="665277"/>
                    </a:cubicBezTo>
                    <a:cubicBezTo>
                      <a:pt x="642284" y="667182"/>
                      <a:pt x="644189" y="670992"/>
                      <a:pt x="650856" y="680517"/>
                    </a:cubicBezTo>
                    <a:close/>
                  </a:path>
                </a:pathLst>
              </a:custGeom>
              <a:solidFill>
                <a:srgbClr val="01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任意多边形: 形状 149"/>
              <p:cNvSpPr/>
              <p:nvPr/>
            </p:nvSpPr>
            <p:spPr>
              <a:xfrm>
                <a:off x="5380955" y="1480792"/>
                <a:ext cx="513276" cy="571699"/>
              </a:xfrm>
              <a:custGeom>
                <a:avLst/>
                <a:gdLst>
                  <a:gd name="connsiteX0" fmla="*/ 373132 w 513276"/>
                  <a:gd name="connsiteY0" fmla="*/ 219999 h 571699"/>
                  <a:gd name="connsiteX1" fmla="*/ 362654 w 513276"/>
                  <a:gd name="connsiteY1" fmla="*/ 158086 h 571699"/>
                  <a:gd name="connsiteX2" fmla="*/ 395992 w 513276"/>
                  <a:gd name="connsiteY2" fmla="*/ 118081 h 571699"/>
                  <a:gd name="connsiteX3" fmla="*/ 472192 w 513276"/>
                  <a:gd name="connsiteY3" fmla="*/ 165706 h 571699"/>
                  <a:gd name="connsiteX4" fmla="*/ 512197 w 513276"/>
                  <a:gd name="connsiteY4" fmla="*/ 324774 h 571699"/>
                  <a:gd name="connsiteX5" fmla="*/ 484574 w 513276"/>
                  <a:gd name="connsiteY5" fmla="*/ 413356 h 571699"/>
                  <a:gd name="connsiteX6" fmla="*/ 452189 w 513276"/>
                  <a:gd name="connsiteY6" fmla="*/ 411451 h 571699"/>
                  <a:gd name="connsiteX7" fmla="*/ 412184 w 513276"/>
                  <a:gd name="connsiteY7" fmla="*/ 348586 h 571699"/>
                  <a:gd name="connsiteX8" fmla="*/ 379799 w 513276"/>
                  <a:gd name="connsiteY8" fmla="*/ 339061 h 571699"/>
                  <a:gd name="connsiteX9" fmla="*/ 323602 w 513276"/>
                  <a:gd name="connsiteY9" fmla="*/ 400974 h 571699"/>
                  <a:gd name="connsiteX10" fmla="*/ 289312 w 513276"/>
                  <a:gd name="connsiteY10" fmla="*/ 429549 h 571699"/>
                  <a:gd name="connsiteX11" fmla="*/ 165487 w 513276"/>
                  <a:gd name="connsiteY11" fmla="*/ 546706 h 571699"/>
                  <a:gd name="connsiteX12" fmla="*/ 113099 w 513276"/>
                  <a:gd name="connsiteY12" fmla="*/ 570519 h 571699"/>
                  <a:gd name="connsiteX13" fmla="*/ 47377 w 513276"/>
                  <a:gd name="connsiteY13" fmla="*/ 490509 h 571699"/>
                  <a:gd name="connsiteX14" fmla="*/ 10229 w 513276"/>
                  <a:gd name="connsiteY14" fmla="*/ 359064 h 571699"/>
                  <a:gd name="connsiteX15" fmla="*/ 11182 w 513276"/>
                  <a:gd name="connsiteY15" fmla="*/ 313344 h 571699"/>
                  <a:gd name="connsiteX16" fmla="*/ 62617 w 513276"/>
                  <a:gd name="connsiteY16" fmla="*/ 319059 h 571699"/>
                  <a:gd name="connsiteX17" fmla="*/ 115957 w 513276"/>
                  <a:gd name="connsiteY17" fmla="*/ 395259 h 571699"/>
                  <a:gd name="connsiteX18" fmla="*/ 165487 w 513276"/>
                  <a:gd name="connsiteY18" fmla="*/ 410499 h 571699"/>
                  <a:gd name="connsiteX19" fmla="*/ 191204 w 513276"/>
                  <a:gd name="connsiteY19" fmla="*/ 325726 h 571699"/>
                  <a:gd name="connsiteX20" fmla="*/ 74999 w 513276"/>
                  <a:gd name="connsiteY20" fmla="*/ 74266 h 571699"/>
                  <a:gd name="connsiteX21" fmla="*/ 77857 w 513276"/>
                  <a:gd name="connsiteY21" fmla="*/ 19021 h 571699"/>
                  <a:gd name="connsiteX22" fmla="*/ 130244 w 513276"/>
                  <a:gd name="connsiteY22" fmla="*/ 1876 h 571699"/>
                  <a:gd name="connsiteX23" fmla="*/ 196919 w 513276"/>
                  <a:gd name="connsiteY23" fmla="*/ 59979 h 571699"/>
                  <a:gd name="connsiteX24" fmla="*/ 283597 w 513276"/>
                  <a:gd name="connsiteY24" fmla="*/ 285721 h 571699"/>
                  <a:gd name="connsiteX25" fmla="*/ 316934 w 513276"/>
                  <a:gd name="connsiteY25" fmla="*/ 295246 h 571699"/>
                  <a:gd name="connsiteX26" fmla="*/ 373132 w 513276"/>
                  <a:gd name="connsiteY26" fmla="*/ 219999 h 571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13276" h="571699">
                    <a:moveTo>
                      <a:pt x="373132" y="219999"/>
                    </a:moveTo>
                    <a:cubicBezTo>
                      <a:pt x="369322" y="199044"/>
                      <a:pt x="367417" y="179041"/>
                      <a:pt x="362654" y="158086"/>
                    </a:cubicBezTo>
                    <a:cubicBezTo>
                      <a:pt x="356939" y="130464"/>
                      <a:pt x="370274" y="119986"/>
                      <a:pt x="395992" y="118081"/>
                    </a:cubicBezTo>
                    <a:cubicBezTo>
                      <a:pt x="433139" y="115224"/>
                      <a:pt x="461714" y="129511"/>
                      <a:pt x="472192" y="165706"/>
                    </a:cubicBezTo>
                    <a:cubicBezTo>
                      <a:pt x="487432" y="218094"/>
                      <a:pt x="502672" y="270481"/>
                      <a:pt x="512197" y="324774"/>
                    </a:cubicBezTo>
                    <a:cubicBezTo>
                      <a:pt x="517912" y="356206"/>
                      <a:pt x="499814" y="385734"/>
                      <a:pt x="484574" y="413356"/>
                    </a:cubicBezTo>
                    <a:cubicBezTo>
                      <a:pt x="476002" y="429549"/>
                      <a:pt x="462667" y="421929"/>
                      <a:pt x="452189" y="411451"/>
                    </a:cubicBezTo>
                    <a:cubicBezTo>
                      <a:pt x="434092" y="393354"/>
                      <a:pt x="421709" y="371446"/>
                      <a:pt x="412184" y="348586"/>
                    </a:cubicBezTo>
                    <a:cubicBezTo>
                      <a:pt x="404564" y="329536"/>
                      <a:pt x="395039" y="328584"/>
                      <a:pt x="379799" y="339061"/>
                    </a:cubicBezTo>
                    <a:cubicBezTo>
                      <a:pt x="355987" y="355254"/>
                      <a:pt x="330269" y="369541"/>
                      <a:pt x="323602" y="400974"/>
                    </a:cubicBezTo>
                    <a:cubicBezTo>
                      <a:pt x="319792" y="420024"/>
                      <a:pt x="302647" y="422881"/>
                      <a:pt x="289312" y="429549"/>
                    </a:cubicBezTo>
                    <a:cubicBezTo>
                      <a:pt x="235972" y="456219"/>
                      <a:pt x="184537" y="482889"/>
                      <a:pt x="165487" y="546706"/>
                    </a:cubicBezTo>
                    <a:cubicBezTo>
                      <a:pt x="158819" y="569566"/>
                      <a:pt x="134054" y="574329"/>
                      <a:pt x="113099" y="570519"/>
                    </a:cubicBezTo>
                    <a:cubicBezTo>
                      <a:pt x="80714" y="565756"/>
                      <a:pt x="50234" y="525751"/>
                      <a:pt x="47377" y="490509"/>
                    </a:cubicBezTo>
                    <a:cubicBezTo>
                      <a:pt x="43567" y="444789"/>
                      <a:pt x="31184" y="400974"/>
                      <a:pt x="10229" y="359064"/>
                    </a:cubicBezTo>
                    <a:cubicBezTo>
                      <a:pt x="2609" y="343824"/>
                      <a:pt x="-8821" y="326679"/>
                      <a:pt x="11182" y="313344"/>
                    </a:cubicBezTo>
                    <a:cubicBezTo>
                      <a:pt x="28327" y="301914"/>
                      <a:pt x="46424" y="307629"/>
                      <a:pt x="62617" y="319059"/>
                    </a:cubicBezTo>
                    <a:cubicBezTo>
                      <a:pt x="88334" y="339061"/>
                      <a:pt x="105479" y="365731"/>
                      <a:pt x="115957" y="395259"/>
                    </a:cubicBezTo>
                    <a:cubicBezTo>
                      <a:pt x="126434" y="423834"/>
                      <a:pt x="140722" y="426691"/>
                      <a:pt x="165487" y="410499"/>
                    </a:cubicBezTo>
                    <a:cubicBezTo>
                      <a:pt x="214064" y="378114"/>
                      <a:pt x="215969" y="379066"/>
                      <a:pt x="191204" y="325726"/>
                    </a:cubicBezTo>
                    <a:cubicBezTo>
                      <a:pt x="152152" y="241906"/>
                      <a:pt x="127387" y="152371"/>
                      <a:pt x="74999" y="74266"/>
                    </a:cubicBezTo>
                    <a:cubicBezTo>
                      <a:pt x="63569" y="57121"/>
                      <a:pt x="64522" y="37119"/>
                      <a:pt x="77857" y="19021"/>
                    </a:cubicBezTo>
                    <a:cubicBezTo>
                      <a:pt x="91192" y="924"/>
                      <a:pt x="108337" y="-2886"/>
                      <a:pt x="130244" y="1876"/>
                    </a:cubicBezTo>
                    <a:cubicBezTo>
                      <a:pt x="163582" y="8544"/>
                      <a:pt x="187394" y="19021"/>
                      <a:pt x="196919" y="59979"/>
                    </a:cubicBezTo>
                    <a:cubicBezTo>
                      <a:pt x="214064" y="139036"/>
                      <a:pt x="254069" y="210474"/>
                      <a:pt x="283597" y="285721"/>
                    </a:cubicBezTo>
                    <a:cubicBezTo>
                      <a:pt x="290264" y="303819"/>
                      <a:pt x="301694" y="307629"/>
                      <a:pt x="316934" y="295246"/>
                    </a:cubicBezTo>
                    <a:cubicBezTo>
                      <a:pt x="339794" y="276196"/>
                      <a:pt x="378847" y="264766"/>
                      <a:pt x="373132" y="219999"/>
                    </a:cubicBezTo>
                    <a:close/>
                  </a:path>
                </a:pathLst>
              </a:custGeom>
              <a:solidFill>
                <a:srgbClr val="02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任意多边形: 形状 150"/>
              <p:cNvSpPr/>
              <p:nvPr/>
            </p:nvSpPr>
            <p:spPr>
              <a:xfrm>
                <a:off x="4084743" y="3064771"/>
                <a:ext cx="442524" cy="741044"/>
              </a:xfrm>
              <a:custGeom>
                <a:avLst/>
                <a:gdLst>
                  <a:gd name="connsiteX0" fmla="*/ 86289 w 442524"/>
                  <a:gd name="connsiteY0" fmla="*/ 404813 h 741044"/>
                  <a:gd name="connsiteX1" fmla="*/ 321557 w 442524"/>
                  <a:gd name="connsiteY1" fmla="*/ 395288 h 741044"/>
                  <a:gd name="connsiteX2" fmla="*/ 336797 w 442524"/>
                  <a:gd name="connsiteY2" fmla="*/ 394335 h 741044"/>
                  <a:gd name="connsiteX3" fmla="*/ 372992 w 442524"/>
                  <a:gd name="connsiteY3" fmla="*/ 358140 h 741044"/>
                  <a:gd name="connsiteX4" fmla="*/ 336797 w 442524"/>
                  <a:gd name="connsiteY4" fmla="*/ 334328 h 741044"/>
                  <a:gd name="connsiteX5" fmla="*/ 123437 w 442524"/>
                  <a:gd name="connsiteY5" fmla="*/ 301943 h 741044"/>
                  <a:gd name="connsiteX6" fmla="*/ 15804 w 442524"/>
                  <a:gd name="connsiteY6" fmla="*/ 195263 h 741044"/>
                  <a:gd name="connsiteX7" fmla="*/ 81527 w 442524"/>
                  <a:gd name="connsiteY7" fmla="*/ 23813 h 741044"/>
                  <a:gd name="connsiteX8" fmla="*/ 180587 w 442524"/>
                  <a:gd name="connsiteY8" fmla="*/ 12383 h 741044"/>
                  <a:gd name="connsiteX9" fmla="*/ 363467 w 442524"/>
                  <a:gd name="connsiteY9" fmla="*/ 37147 h 741044"/>
                  <a:gd name="connsiteX10" fmla="*/ 442524 w 442524"/>
                  <a:gd name="connsiteY10" fmla="*/ 0 h 741044"/>
                  <a:gd name="connsiteX11" fmla="*/ 416807 w 442524"/>
                  <a:gd name="connsiteY11" fmla="*/ 189547 h 741044"/>
                  <a:gd name="connsiteX12" fmla="*/ 349179 w 442524"/>
                  <a:gd name="connsiteY12" fmla="*/ 128588 h 741044"/>
                  <a:gd name="connsiteX13" fmla="*/ 143439 w 442524"/>
                  <a:gd name="connsiteY13" fmla="*/ 101917 h 741044"/>
                  <a:gd name="connsiteX14" fmla="*/ 46284 w 442524"/>
                  <a:gd name="connsiteY14" fmla="*/ 156210 h 741044"/>
                  <a:gd name="connsiteX15" fmla="*/ 104387 w 442524"/>
                  <a:gd name="connsiteY15" fmla="*/ 272415 h 741044"/>
                  <a:gd name="connsiteX16" fmla="*/ 270122 w 442524"/>
                  <a:gd name="connsiteY16" fmla="*/ 300990 h 741044"/>
                  <a:gd name="connsiteX17" fmla="*/ 316794 w 442524"/>
                  <a:gd name="connsiteY17" fmla="*/ 307657 h 741044"/>
                  <a:gd name="connsiteX18" fmla="*/ 402519 w 442524"/>
                  <a:gd name="connsiteY18" fmla="*/ 262890 h 741044"/>
                  <a:gd name="connsiteX19" fmla="*/ 394899 w 442524"/>
                  <a:gd name="connsiteY19" fmla="*/ 472440 h 741044"/>
                  <a:gd name="connsiteX20" fmla="*/ 371087 w 442524"/>
                  <a:gd name="connsiteY20" fmla="*/ 501968 h 741044"/>
                  <a:gd name="connsiteX21" fmla="*/ 173919 w 442524"/>
                  <a:gd name="connsiteY21" fmla="*/ 682943 h 741044"/>
                  <a:gd name="connsiteX22" fmla="*/ 362514 w 442524"/>
                  <a:gd name="connsiteY22" fmla="*/ 672465 h 741044"/>
                  <a:gd name="connsiteX23" fmla="*/ 398709 w 442524"/>
                  <a:gd name="connsiteY23" fmla="*/ 613410 h 741044"/>
                  <a:gd name="connsiteX24" fmla="*/ 406329 w 442524"/>
                  <a:gd name="connsiteY24" fmla="*/ 741045 h 741044"/>
                  <a:gd name="connsiteX25" fmla="*/ 317747 w 442524"/>
                  <a:gd name="connsiteY25" fmla="*/ 698182 h 741044"/>
                  <a:gd name="connsiteX26" fmla="*/ 6279 w 442524"/>
                  <a:gd name="connsiteY26" fmla="*/ 706755 h 741044"/>
                  <a:gd name="connsiteX27" fmla="*/ 312032 w 442524"/>
                  <a:gd name="connsiteY27" fmla="*/ 430530 h 741044"/>
                  <a:gd name="connsiteX28" fmla="*/ 152012 w 442524"/>
                  <a:gd name="connsiteY28" fmla="*/ 430530 h 741044"/>
                  <a:gd name="connsiteX29" fmla="*/ 85337 w 442524"/>
                  <a:gd name="connsiteY29" fmla="*/ 435293 h 741044"/>
                  <a:gd name="connsiteX30" fmla="*/ 10089 w 442524"/>
                  <a:gd name="connsiteY30" fmla="*/ 499110 h 741044"/>
                  <a:gd name="connsiteX31" fmla="*/ 564 w 442524"/>
                  <a:gd name="connsiteY31" fmla="*/ 352425 h 741044"/>
                  <a:gd name="connsiteX32" fmla="*/ 46284 w 442524"/>
                  <a:gd name="connsiteY32" fmla="*/ 404813 h 741044"/>
                  <a:gd name="connsiteX33" fmla="*/ 86289 w 442524"/>
                  <a:gd name="connsiteY33" fmla="*/ 404813 h 741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42524" h="741044">
                    <a:moveTo>
                      <a:pt x="86289" y="404813"/>
                    </a:moveTo>
                    <a:cubicBezTo>
                      <a:pt x="164394" y="401955"/>
                      <a:pt x="243452" y="398145"/>
                      <a:pt x="321557" y="395288"/>
                    </a:cubicBezTo>
                    <a:cubicBezTo>
                      <a:pt x="326319" y="395288"/>
                      <a:pt x="332034" y="396240"/>
                      <a:pt x="336797" y="394335"/>
                    </a:cubicBezTo>
                    <a:cubicBezTo>
                      <a:pt x="354894" y="388620"/>
                      <a:pt x="372992" y="376238"/>
                      <a:pt x="372992" y="358140"/>
                    </a:cubicBezTo>
                    <a:cubicBezTo>
                      <a:pt x="372992" y="340995"/>
                      <a:pt x="352037" y="336232"/>
                      <a:pt x="336797" y="334328"/>
                    </a:cubicBezTo>
                    <a:cubicBezTo>
                      <a:pt x="266312" y="322897"/>
                      <a:pt x="194874" y="314325"/>
                      <a:pt x="123437" y="301943"/>
                    </a:cubicBezTo>
                    <a:cubicBezTo>
                      <a:pt x="58667" y="290513"/>
                      <a:pt x="25329" y="256222"/>
                      <a:pt x="15804" y="195263"/>
                    </a:cubicBezTo>
                    <a:cubicBezTo>
                      <a:pt x="5327" y="131445"/>
                      <a:pt x="35807" y="51435"/>
                      <a:pt x="81527" y="23813"/>
                    </a:cubicBezTo>
                    <a:cubicBezTo>
                      <a:pt x="112959" y="4763"/>
                      <a:pt x="147249" y="8572"/>
                      <a:pt x="180587" y="12383"/>
                    </a:cubicBezTo>
                    <a:cubicBezTo>
                      <a:pt x="241547" y="19050"/>
                      <a:pt x="302507" y="26670"/>
                      <a:pt x="363467" y="37147"/>
                    </a:cubicBezTo>
                    <a:cubicBezTo>
                      <a:pt x="400614" y="43815"/>
                      <a:pt x="429189" y="43815"/>
                      <a:pt x="442524" y="0"/>
                    </a:cubicBezTo>
                    <a:cubicBezTo>
                      <a:pt x="433952" y="62865"/>
                      <a:pt x="425379" y="126683"/>
                      <a:pt x="416807" y="189547"/>
                    </a:cubicBezTo>
                    <a:cubicBezTo>
                      <a:pt x="417759" y="141922"/>
                      <a:pt x="387279" y="132397"/>
                      <a:pt x="349179" y="128588"/>
                    </a:cubicBezTo>
                    <a:cubicBezTo>
                      <a:pt x="280599" y="120967"/>
                      <a:pt x="212019" y="111442"/>
                      <a:pt x="143439" y="101917"/>
                    </a:cubicBezTo>
                    <a:cubicBezTo>
                      <a:pt x="89147" y="94297"/>
                      <a:pt x="57714" y="111442"/>
                      <a:pt x="46284" y="156210"/>
                    </a:cubicBezTo>
                    <a:cubicBezTo>
                      <a:pt x="31997" y="209550"/>
                      <a:pt x="54857" y="255270"/>
                      <a:pt x="104387" y="272415"/>
                    </a:cubicBezTo>
                    <a:cubicBezTo>
                      <a:pt x="157727" y="291465"/>
                      <a:pt x="214877" y="290513"/>
                      <a:pt x="270122" y="300990"/>
                    </a:cubicBezTo>
                    <a:cubicBezTo>
                      <a:pt x="285362" y="303847"/>
                      <a:pt x="300602" y="305753"/>
                      <a:pt x="316794" y="307657"/>
                    </a:cubicBezTo>
                    <a:cubicBezTo>
                      <a:pt x="353942" y="311468"/>
                      <a:pt x="392042" y="317182"/>
                      <a:pt x="402519" y="262890"/>
                    </a:cubicBezTo>
                    <a:cubicBezTo>
                      <a:pt x="394899" y="334328"/>
                      <a:pt x="389184" y="402907"/>
                      <a:pt x="394899" y="472440"/>
                    </a:cubicBezTo>
                    <a:cubicBezTo>
                      <a:pt x="395852" y="487680"/>
                      <a:pt x="380612" y="493395"/>
                      <a:pt x="371087" y="501968"/>
                    </a:cubicBezTo>
                    <a:cubicBezTo>
                      <a:pt x="305364" y="561022"/>
                      <a:pt x="238689" y="620078"/>
                      <a:pt x="173919" y="682943"/>
                    </a:cubicBezTo>
                    <a:cubicBezTo>
                      <a:pt x="237737" y="681038"/>
                      <a:pt x="300602" y="685800"/>
                      <a:pt x="362514" y="672465"/>
                    </a:cubicBezTo>
                    <a:cubicBezTo>
                      <a:pt x="387279" y="667703"/>
                      <a:pt x="387279" y="663893"/>
                      <a:pt x="398709" y="613410"/>
                    </a:cubicBezTo>
                    <a:cubicBezTo>
                      <a:pt x="412044" y="658178"/>
                      <a:pt x="407282" y="699135"/>
                      <a:pt x="406329" y="741045"/>
                    </a:cubicBezTo>
                    <a:cubicBezTo>
                      <a:pt x="391089" y="694372"/>
                      <a:pt x="355847" y="695325"/>
                      <a:pt x="317747" y="698182"/>
                    </a:cubicBezTo>
                    <a:cubicBezTo>
                      <a:pt x="215829" y="704850"/>
                      <a:pt x="113912" y="708660"/>
                      <a:pt x="6279" y="706755"/>
                    </a:cubicBezTo>
                    <a:cubicBezTo>
                      <a:pt x="106292" y="615315"/>
                      <a:pt x="207257" y="524828"/>
                      <a:pt x="312032" y="430530"/>
                    </a:cubicBezTo>
                    <a:cubicBezTo>
                      <a:pt x="253929" y="430530"/>
                      <a:pt x="203447" y="429578"/>
                      <a:pt x="152012" y="430530"/>
                    </a:cubicBezTo>
                    <a:cubicBezTo>
                      <a:pt x="130104" y="430530"/>
                      <a:pt x="107244" y="434340"/>
                      <a:pt x="85337" y="435293"/>
                    </a:cubicBezTo>
                    <a:cubicBezTo>
                      <a:pt x="30092" y="437197"/>
                      <a:pt x="22472" y="442913"/>
                      <a:pt x="10089" y="499110"/>
                    </a:cubicBezTo>
                    <a:cubicBezTo>
                      <a:pt x="1517" y="449580"/>
                      <a:pt x="-1341" y="405765"/>
                      <a:pt x="564" y="352425"/>
                    </a:cubicBezTo>
                    <a:cubicBezTo>
                      <a:pt x="15804" y="376238"/>
                      <a:pt x="17709" y="404813"/>
                      <a:pt x="46284" y="404813"/>
                    </a:cubicBezTo>
                    <a:cubicBezTo>
                      <a:pt x="58667" y="415290"/>
                      <a:pt x="72954" y="415290"/>
                      <a:pt x="86289" y="404813"/>
                    </a:cubicBezTo>
                    <a:close/>
                  </a:path>
                </a:pathLst>
              </a:custGeom>
              <a:solidFill>
                <a:srgbClr val="045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2" name="任意多边形: 形状 151"/>
              <p:cNvSpPr/>
              <p:nvPr/>
            </p:nvSpPr>
            <p:spPr>
              <a:xfrm>
                <a:off x="7566695" y="4032121"/>
                <a:ext cx="511492" cy="453779"/>
              </a:xfrm>
              <a:custGeom>
                <a:avLst/>
                <a:gdLst>
                  <a:gd name="connsiteX0" fmla="*/ 427672 w 511492"/>
                  <a:gd name="connsiteY0" fmla="*/ 267090 h 453779"/>
                  <a:gd name="connsiteX1" fmla="*/ 353378 w 511492"/>
                  <a:gd name="connsiteY1" fmla="*/ 453780 h 453779"/>
                  <a:gd name="connsiteX2" fmla="*/ 304800 w 511492"/>
                  <a:gd name="connsiteY2" fmla="*/ 377580 h 453779"/>
                  <a:gd name="connsiteX3" fmla="*/ 77153 w 511492"/>
                  <a:gd name="connsiteY3" fmla="*/ 286140 h 453779"/>
                  <a:gd name="connsiteX4" fmla="*/ 0 w 511492"/>
                  <a:gd name="connsiteY4" fmla="*/ 305190 h 453779"/>
                  <a:gd name="connsiteX5" fmla="*/ 119063 w 511492"/>
                  <a:gd name="connsiteY5" fmla="*/ 29917 h 453779"/>
                  <a:gd name="connsiteX6" fmla="*/ 220028 w 511492"/>
                  <a:gd name="connsiteY6" fmla="*/ 6105 h 453779"/>
                  <a:gd name="connsiteX7" fmla="*/ 284797 w 511492"/>
                  <a:gd name="connsiteY7" fmla="*/ 93735 h 453779"/>
                  <a:gd name="connsiteX8" fmla="*/ 329565 w 511492"/>
                  <a:gd name="connsiteY8" fmla="*/ 123262 h 453779"/>
                  <a:gd name="connsiteX9" fmla="*/ 446722 w 511492"/>
                  <a:gd name="connsiteY9" fmla="*/ 93735 h 453779"/>
                  <a:gd name="connsiteX10" fmla="*/ 511492 w 511492"/>
                  <a:gd name="connsiteY10" fmla="*/ 53730 h 453779"/>
                  <a:gd name="connsiteX11" fmla="*/ 469582 w 511492"/>
                  <a:gd name="connsiteY11" fmla="*/ 171840 h 453779"/>
                  <a:gd name="connsiteX12" fmla="*/ 446722 w 511492"/>
                  <a:gd name="connsiteY12" fmla="*/ 184222 h 453779"/>
                  <a:gd name="connsiteX13" fmla="*/ 276225 w 511492"/>
                  <a:gd name="connsiteY13" fmla="*/ 224227 h 453779"/>
                  <a:gd name="connsiteX14" fmla="*/ 249555 w 511492"/>
                  <a:gd name="connsiteY14" fmla="*/ 243277 h 453779"/>
                  <a:gd name="connsiteX15" fmla="*/ 271463 w 511492"/>
                  <a:gd name="connsiteY15" fmla="*/ 264232 h 453779"/>
                  <a:gd name="connsiteX16" fmla="*/ 342900 w 511492"/>
                  <a:gd name="connsiteY16" fmla="*/ 293760 h 453779"/>
                  <a:gd name="connsiteX17" fmla="*/ 427672 w 511492"/>
                  <a:gd name="connsiteY17" fmla="*/ 267090 h 453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11492" h="453779">
                    <a:moveTo>
                      <a:pt x="427672" y="267090"/>
                    </a:moveTo>
                    <a:cubicBezTo>
                      <a:pt x="410528" y="331860"/>
                      <a:pt x="385763" y="392820"/>
                      <a:pt x="353378" y="453780"/>
                    </a:cubicBezTo>
                    <a:cubicBezTo>
                      <a:pt x="372428" y="403297"/>
                      <a:pt x="341947" y="390915"/>
                      <a:pt x="304800" y="377580"/>
                    </a:cubicBezTo>
                    <a:cubicBezTo>
                      <a:pt x="228600" y="349005"/>
                      <a:pt x="152400" y="317572"/>
                      <a:pt x="77153" y="286140"/>
                    </a:cubicBezTo>
                    <a:cubicBezTo>
                      <a:pt x="46672" y="273757"/>
                      <a:pt x="19050" y="267090"/>
                      <a:pt x="0" y="305190"/>
                    </a:cubicBezTo>
                    <a:cubicBezTo>
                      <a:pt x="35242" y="209940"/>
                      <a:pt x="60007" y="111832"/>
                      <a:pt x="119063" y="29917"/>
                    </a:cubicBezTo>
                    <a:cubicBezTo>
                      <a:pt x="141922" y="-2468"/>
                      <a:pt x="181928" y="-5325"/>
                      <a:pt x="220028" y="6105"/>
                    </a:cubicBezTo>
                    <a:cubicBezTo>
                      <a:pt x="262890" y="18487"/>
                      <a:pt x="284797" y="54682"/>
                      <a:pt x="284797" y="93735"/>
                    </a:cubicBezTo>
                    <a:cubicBezTo>
                      <a:pt x="284797" y="137550"/>
                      <a:pt x="301942" y="131835"/>
                      <a:pt x="329565" y="123262"/>
                    </a:cubicBezTo>
                    <a:cubicBezTo>
                      <a:pt x="368617" y="111832"/>
                      <a:pt x="407670" y="102307"/>
                      <a:pt x="446722" y="93735"/>
                    </a:cubicBezTo>
                    <a:cubicBezTo>
                      <a:pt x="470535" y="88972"/>
                      <a:pt x="490538" y="80400"/>
                      <a:pt x="511492" y="53730"/>
                    </a:cubicBezTo>
                    <a:cubicBezTo>
                      <a:pt x="501015" y="102307"/>
                      <a:pt x="482917" y="136597"/>
                      <a:pt x="469582" y="171840"/>
                    </a:cubicBezTo>
                    <a:cubicBezTo>
                      <a:pt x="465772" y="182317"/>
                      <a:pt x="456247" y="182317"/>
                      <a:pt x="446722" y="184222"/>
                    </a:cubicBezTo>
                    <a:cubicBezTo>
                      <a:pt x="389572" y="197557"/>
                      <a:pt x="333375" y="211845"/>
                      <a:pt x="276225" y="224227"/>
                    </a:cubicBezTo>
                    <a:cubicBezTo>
                      <a:pt x="263842" y="227085"/>
                      <a:pt x="252413" y="230895"/>
                      <a:pt x="249555" y="243277"/>
                    </a:cubicBezTo>
                    <a:cubicBezTo>
                      <a:pt x="245745" y="260422"/>
                      <a:pt x="261938" y="259470"/>
                      <a:pt x="271463" y="264232"/>
                    </a:cubicBezTo>
                    <a:cubicBezTo>
                      <a:pt x="295275" y="274710"/>
                      <a:pt x="320040" y="283282"/>
                      <a:pt x="342900" y="293760"/>
                    </a:cubicBezTo>
                    <a:cubicBezTo>
                      <a:pt x="380047" y="309000"/>
                      <a:pt x="409575" y="309952"/>
                      <a:pt x="427672" y="267090"/>
                    </a:cubicBezTo>
                    <a:close/>
                  </a:path>
                </a:pathLst>
              </a:custGeom>
              <a:solidFill>
                <a:srgbClr val="03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3" name="任意多边形: 形状 152"/>
              <p:cNvSpPr/>
              <p:nvPr/>
            </p:nvSpPr>
            <p:spPr>
              <a:xfrm>
                <a:off x="4192940" y="3902018"/>
                <a:ext cx="472439" cy="455295"/>
              </a:xfrm>
              <a:custGeom>
                <a:avLst/>
                <a:gdLst>
                  <a:gd name="connsiteX0" fmla="*/ 472440 w 472439"/>
                  <a:gd name="connsiteY0" fmla="*/ 398145 h 455295"/>
                  <a:gd name="connsiteX1" fmla="*/ 277178 w 472439"/>
                  <a:gd name="connsiteY1" fmla="*/ 345758 h 455295"/>
                  <a:gd name="connsiteX2" fmla="*/ 115252 w 472439"/>
                  <a:gd name="connsiteY2" fmla="*/ 367665 h 455295"/>
                  <a:gd name="connsiteX3" fmla="*/ 80010 w 472439"/>
                  <a:gd name="connsiteY3" fmla="*/ 455295 h 455295"/>
                  <a:gd name="connsiteX4" fmla="*/ 0 w 472439"/>
                  <a:gd name="connsiteY4" fmla="*/ 278130 h 455295"/>
                  <a:gd name="connsiteX5" fmla="*/ 191452 w 472439"/>
                  <a:gd name="connsiteY5" fmla="*/ 199072 h 455295"/>
                  <a:gd name="connsiteX6" fmla="*/ 276225 w 472439"/>
                  <a:gd name="connsiteY6" fmla="*/ 87630 h 455295"/>
                  <a:gd name="connsiteX7" fmla="*/ 314325 w 472439"/>
                  <a:gd name="connsiteY7" fmla="*/ 0 h 455295"/>
                  <a:gd name="connsiteX8" fmla="*/ 387667 w 472439"/>
                  <a:gd name="connsiteY8" fmla="*/ 187643 h 455295"/>
                  <a:gd name="connsiteX9" fmla="*/ 369570 w 472439"/>
                  <a:gd name="connsiteY9" fmla="*/ 162878 h 455295"/>
                  <a:gd name="connsiteX10" fmla="*/ 344805 w 472439"/>
                  <a:gd name="connsiteY10" fmla="*/ 157163 h 455295"/>
                  <a:gd name="connsiteX11" fmla="*/ 220980 w 472439"/>
                  <a:gd name="connsiteY11" fmla="*/ 311468 h 455295"/>
                  <a:gd name="connsiteX12" fmla="*/ 377190 w 472439"/>
                  <a:gd name="connsiteY12" fmla="*/ 337185 h 455295"/>
                  <a:gd name="connsiteX13" fmla="*/ 423863 w 472439"/>
                  <a:gd name="connsiteY13" fmla="*/ 279083 h 455295"/>
                  <a:gd name="connsiteX14" fmla="*/ 472440 w 472439"/>
                  <a:gd name="connsiteY14" fmla="*/ 398145 h 455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72439" h="455295">
                    <a:moveTo>
                      <a:pt x="472440" y="398145"/>
                    </a:moveTo>
                    <a:cubicBezTo>
                      <a:pt x="409575" y="354330"/>
                      <a:pt x="340042" y="362903"/>
                      <a:pt x="277178" y="345758"/>
                    </a:cubicBezTo>
                    <a:cubicBezTo>
                      <a:pt x="219075" y="329565"/>
                      <a:pt x="167640" y="342900"/>
                      <a:pt x="115252" y="367665"/>
                    </a:cubicBezTo>
                    <a:cubicBezTo>
                      <a:pt x="68580" y="389572"/>
                      <a:pt x="64770" y="392430"/>
                      <a:pt x="80010" y="455295"/>
                    </a:cubicBezTo>
                    <a:cubicBezTo>
                      <a:pt x="40957" y="394335"/>
                      <a:pt x="27623" y="334328"/>
                      <a:pt x="0" y="278130"/>
                    </a:cubicBezTo>
                    <a:cubicBezTo>
                      <a:pt x="83820" y="294322"/>
                      <a:pt x="143827" y="260985"/>
                      <a:pt x="191452" y="199072"/>
                    </a:cubicBezTo>
                    <a:cubicBezTo>
                      <a:pt x="220027" y="161925"/>
                      <a:pt x="248602" y="124778"/>
                      <a:pt x="276225" y="87630"/>
                    </a:cubicBezTo>
                    <a:cubicBezTo>
                      <a:pt x="295275" y="61913"/>
                      <a:pt x="321945" y="40005"/>
                      <a:pt x="314325" y="0"/>
                    </a:cubicBezTo>
                    <a:cubicBezTo>
                      <a:pt x="345757" y="60960"/>
                      <a:pt x="374332" y="120015"/>
                      <a:pt x="387667" y="187643"/>
                    </a:cubicBezTo>
                    <a:cubicBezTo>
                      <a:pt x="370523" y="183833"/>
                      <a:pt x="374332" y="170497"/>
                      <a:pt x="369570" y="162878"/>
                    </a:cubicBezTo>
                    <a:cubicBezTo>
                      <a:pt x="363855" y="153353"/>
                      <a:pt x="355282" y="144780"/>
                      <a:pt x="344805" y="157163"/>
                    </a:cubicBezTo>
                    <a:cubicBezTo>
                      <a:pt x="303848" y="207645"/>
                      <a:pt x="263842" y="258128"/>
                      <a:pt x="220980" y="311468"/>
                    </a:cubicBezTo>
                    <a:cubicBezTo>
                      <a:pt x="275273" y="320993"/>
                      <a:pt x="325755" y="329565"/>
                      <a:pt x="377190" y="337185"/>
                    </a:cubicBezTo>
                    <a:cubicBezTo>
                      <a:pt x="420053" y="343853"/>
                      <a:pt x="423863" y="338138"/>
                      <a:pt x="423863" y="279083"/>
                    </a:cubicBezTo>
                    <a:cubicBezTo>
                      <a:pt x="448628" y="316230"/>
                      <a:pt x="457200" y="355283"/>
                      <a:pt x="472440" y="398145"/>
                    </a:cubicBezTo>
                    <a:close/>
                  </a:path>
                </a:pathLst>
              </a:custGeom>
              <a:solidFill>
                <a:srgbClr val="02572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任意多边形: 形状 153"/>
              <p:cNvSpPr/>
              <p:nvPr/>
            </p:nvSpPr>
            <p:spPr>
              <a:xfrm>
                <a:off x="4540602" y="4457861"/>
                <a:ext cx="474025" cy="477620"/>
              </a:xfrm>
              <a:custGeom>
                <a:avLst/>
                <a:gdLst>
                  <a:gd name="connsiteX0" fmla="*/ 4763 w 474025"/>
                  <a:gd name="connsiteY0" fmla="*/ 320458 h 477620"/>
                  <a:gd name="connsiteX1" fmla="*/ 93345 w 474025"/>
                  <a:gd name="connsiteY1" fmla="*/ 314743 h 477620"/>
                  <a:gd name="connsiteX2" fmla="*/ 284798 w 474025"/>
                  <a:gd name="connsiteY2" fmla="*/ 124242 h 477620"/>
                  <a:gd name="connsiteX3" fmla="*/ 284798 w 474025"/>
                  <a:gd name="connsiteY3" fmla="*/ 84238 h 477620"/>
                  <a:gd name="connsiteX4" fmla="*/ 156210 w 474025"/>
                  <a:gd name="connsiteY4" fmla="*/ 73760 h 477620"/>
                  <a:gd name="connsiteX5" fmla="*/ 221932 w 474025"/>
                  <a:gd name="connsiteY5" fmla="*/ 6133 h 477620"/>
                  <a:gd name="connsiteX6" fmla="*/ 247650 w 474025"/>
                  <a:gd name="connsiteY6" fmla="*/ 8990 h 477620"/>
                  <a:gd name="connsiteX7" fmla="*/ 467678 w 474025"/>
                  <a:gd name="connsiteY7" fmla="*/ 247115 h 477620"/>
                  <a:gd name="connsiteX8" fmla="*/ 465773 w 474025"/>
                  <a:gd name="connsiteY8" fmla="*/ 271880 h 477620"/>
                  <a:gd name="connsiteX9" fmla="*/ 401003 w 474025"/>
                  <a:gd name="connsiteY9" fmla="*/ 332840 h 477620"/>
                  <a:gd name="connsiteX10" fmla="*/ 400050 w 474025"/>
                  <a:gd name="connsiteY10" fmla="*/ 311885 h 477620"/>
                  <a:gd name="connsiteX11" fmla="*/ 381953 w 474025"/>
                  <a:gd name="connsiteY11" fmla="*/ 185203 h 477620"/>
                  <a:gd name="connsiteX12" fmla="*/ 360045 w 474025"/>
                  <a:gd name="connsiteY12" fmla="*/ 186155 h 477620"/>
                  <a:gd name="connsiteX13" fmla="*/ 161925 w 474025"/>
                  <a:gd name="connsiteY13" fmla="*/ 380465 h 477620"/>
                  <a:gd name="connsiteX14" fmla="*/ 139065 w 474025"/>
                  <a:gd name="connsiteY14" fmla="*/ 477620 h 477620"/>
                  <a:gd name="connsiteX15" fmla="*/ 0 w 474025"/>
                  <a:gd name="connsiteY15" fmla="*/ 329983 h 477620"/>
                  <a:gd name="connsiteX16" fmla="*/ 4763 w 474025"/>
                  <a:gd name="connsiteY16" fmla="*/ 320458 h 477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74025" h="477620">
                    <a:moveTo>
                      <a:pt x="4763" y="320458"/>
                    </a:moveTo>
                    <a:cubicBezTo>
                      <a:pt x="39052" y="361415"/>
                      <a:pt x="65723" y="343318"/>
                      <a:pt x="93345" y="314743"/>
                    </a:cubicBezTo>
                    <a:cubicBezTo>
                      <a:pt x="156210" y="250925"/>
                      <a:pt x="220027" y="187108"/>
                      <a:pt x="284798" y="124242"/>
                    </a:cubicBezTo>
                    <a:cubicBezTo>
                      <a:pt x="300990" y="109003"/>
                      <a:pt x="300990" y="99478"/>
                      <a:pt x="284798" y="84238"/>
                    </a:cubicBezTo>
                    <a:cubicBezTo>
                      <a:pt x="249555" y="50900"/>
                      <a:pt x="240982" y="48995"/>
                      <a:pt x="156210" y="73760"/>
                    </a:cubicBezTo>
                    <a:cubicBezTo>
                      <a:pt x="175260" y="45185"/>
                      <a:pt x="200977" y="28040"/>
                      <a:pt x="221932" y="6133"/>
                    </a:cubicBezTo>
                    <a:cubicBezTo>
                      <a:pt x="232410" y="-5297"/>
                      <a:pt x="240982" y="1370"/>
                      <a:pt x="247650" y="8990"/>
                    </a:cubicBezTo>
                    <a:cubicBezTo>
                      <a:pt x="320993" y="88048"/>
                      <a:pt x="393382" y="168058"/>
                      <a:pt x="467678" y="247115"/>
                    </a:cubicBezTo>
                    <a:cubicBezTo>
                      <a:pt x="478155" y="258545"/>
                      <a:pt x="474345" y="263308"/>
                      <a:pt x="465773" y="271880"/>
                    </a:cubicBezTo>
                    <a:cubicBezTo>
                      <a:pt x="443865" y="291883"/>
                      <a:pt x="422910" y="312838"/>
                      <a:pt x="401003" y="332840"/>
                    </a:cubicBezTo>
                    <a:cubicBezTo>
                      <a:pt x="388620" y="323315"/>
                      <a:pt x="397193" y="317600"/>
                      <a:pt x="400050" y="311885"/>
                    </a:cubicBezTo>
                    <a:cubicBezTo>
                      <a:pt x="425768" y="258545"/>
                      <a:pt x="421005" y="227113"/>
                      <a:pt x="381953" y="185203"/>
                    </a:cubicBezTo>
                    <a:cubicBezTo>
                      <a:pt x="373380" y="175678"/>
                      <a:pt x="365760" y="177583"/>
                      <a:pt x="360045" y="186155"/>
                    </a:cubicBezTo>
                    <a:cubicBezTo>
                      <a:pt x="300990" y="257593"/>
                      <a:pt x="228600" y="316648"/>
                      <a:pt x="161925" y="380465"/>
                    </a:cubicBezTo>
                    <a:cubicBezTo>
                      <a:pt x="118110" y="423328"/>
                      <a:pt x="117157" y="422375"/>
                      <a:pt x="139065" y="477620"/>
                    </a:cubicBezTo>
                    <a:cubicBezTo>
                      <a:pt x="92392" y="428090"/>
                      <a:pt x="46673" y="379513"/>
                      <a:pt x="0" y="329983"/>
                    </a:cubicBezTo>
                    <a:cubicBezTo>
                      <a:pt x="1905" y="326173"/>
                      <a:pt x="3810" y="323315"/>
                      <a:pt x="4763" y="320458"/>
                    </a:cubicBezTo>
                    <a:close/>
                  </a:path>
                </a:pathLst>
              </a:custGeom>
              <a:solidFill>
                <a:srgbClr val="04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5" name="任意多边形: 形状 154"/>
              <p:cNvSpPr/>
              <p:nvPr/>
            </p:nvSpPr>
            <p:spPr>
              <a:xfrm>
                <a:off x="4176529" y="2698059"/>
                <a:ext cx="413396" cy="352425"/>
              </a:xfrm>
              <a:custGeom>
                <a:avLst/>
                <a:gdLst>
                  <a:gd name="connsiteX0" fmla="*/ 365978 w 413396"/>
                  <a:gd name="connsiteY0" fmla="*/ 352425 h 352425"/>
                  <a:gd name="connsiteX1" fmla="*/ 247868 w 413396"/>
                  <a:gd name="connsiteY1" fmla="*/ 320992 h 352425"/>
                  <a:gd name="connsiteX2" fmla="*/ 248820 w 413396"/>
                  <a:gd name="connsiteY2" fmla="*/ 314325 h 352425"/>
                  <a:gd name="connsiteX3" fmla="*/ 297398 w 413396"/>
                  <a:gd name="connsiteY3" fmla="*/ 307658 h 352425"/>
                  <a:gd name="connsiteX4" fmla="*/ 386933 w 413396"/>
                  <a:gd name="connsiteY4" fmla="*/ 196215 h 352425"/>
                  <a:gd name="connsiteX5" fmla="*/ 307875 w 413396"/>
                  <a:gd name="connsiteY5" fmla="*/ 156210 h 352425"/>
                  <a:gd name="connsiteX6" fmla="*/ 271680 w 413396"/>
                  <a:gd name="connsiteY6" fmla="*/ 190500 h 352425"/>
                  <a:gd name="connsiteX7" fmla="*/ 178335 w 413396"/>
                  <a:gd name="connsiteY7" fmla="*/ 284797 h 352425"/>
                  <a:gd name="connsiteX8" fmla="*/ 2123 w 413396"/>
                  <a:gd name="connsiteY8" fmla="*/ 206692 h 352425"/>
                  <a:gd name="connsiteX9" fmla="*/ 34508 w 413396"/>
                  <a:gd name="connsiteY9" fmla="*/ 73342 h 352425"/>
                  <a:gd name="connsiteX10" fmla="*/ 45938 w 413396"/>
                  <a:gd name="connsiteY10" fmla="*/ 0 h 352425"/>
                  <a:gd name="connsiteX11" fmla="*/ 62130 w 413396"/>
                  <a:gd name="connsiteY11" fmla="*/ 1905 h 352425"/>
                  <a:gd name="connsiteX12" fmla="*/ 182145 w 413396"/>
                  <a:gd name="connsiteY12" fmla="*/ 41910 h 352425"/>
                  <a:gd name="connsiteX13" fmla="*/ 131663 w 413396"/>
                  <a:gd name="connsiteY13" fmla="*/ 48578 h 352425"/>
                  <a:gd name="connsiteX14" fmla="*/ 24030 w 413396"/>
                  <a:gd name="connsiteY14" fmla="*/ 142875 h 352425"/>
                  <a:gd name="connsiteX15" fmla="*/ 55463 w 413396"/>
                  <a:gd name="connsiteY15" fmla="*/ 222885 h 352425"/>
                  <a:gd name="connsiteX16" fmla="*/ 137378 w 413396"/>
                  <a:gd name="connsiteY16" fmla="*/ 196215 h 352425"/>
                  <a:gd name="connsiteX17" fmla="*/ 211673 w 413396"/>
                  <a:gd name="connsiteY17" fmla="*/ 116205 h 352425"/>
                  <a:gd name="connsiteX18" fmla="*/ 370740 w 413396"/>
                  <a:gd name="connsiteY18" fmla="*/ 98108 h 352425"/>
                  <a:gd name="connsiteX19" fmla="*/ 393600 w 413396"/>
                  <a:gd name="connsiteY19" fmla="*/ 265747 h 352425"/>
                  <a:gd name="connsiteX20" fmla="*/ 373598 w 413396"/>
                  <a:gd name="connsiteY20" fmla="*/ 294322 h 352425"/>
                  <a:gd name="connsiteX21" fmla="*/ 365978 w 413396"/>
                  <a:gd name="connsiteY21" fmla="*/ 352425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13396" h="352425">
                    <a:moveTo>
                      <a:pt x="365978" y="352425"/>
                    </a:moveTo>
                    <a:cubicBezTo>
                      <a:pt x="326925" y="341947"/>
                      <a:pt x="286920" y="331470"/>
                      <a:pt x="247868" y="320992"/>
                    </a:cubicBezTo>
                    <a:cubicBezTo>
                      <a:pt x="247868" y="319088"/>
                      <a:pt x="247868" y="316230"/>
                      <a:pt x="248820" y="314325"/>
                    </a:cubicBezTo>
                    <a:cubicBezTo>
                      <a:pt x="265013" y="312420"/>
                      <a:pt x="281205" y="310515"/>
                      <a:pt x="297398" y="307658"/>
                    </a:cubicBezTo>
                    <a:cubicBezTo>
                      <a:pt x="352643" y="296228"/>
                      <a:pt x="393600" y="245745"/>
                      <a:pt x="386933" y="196215"/>
                    </a:cubicBezTo>
                    <a:cubicBezTo>
                      <a:pt x="381218" y="152400"/>
                      <a:pt x="345975" y="134303"/>
                      <a:pt x="307875" y="156210"/>
                    </a:cubicBezTo>
                    <a:cubicBezTo>
                      <a:pt x="293588" y="164783"/>
                      <a:pt x="281205" y="176213"/>
                      <a:pt x="271680" y="190500"/>
                    </a:cubicBezTo>
                    <a:cubicBezTo>
                      <a:pt x="245963" y="226695"/>
                      <a:pt x="215483" y="259080"/>
                      <a:pt x="178335" y="284797"/>
                    </a:cubicBezTo>
                    <a:cubicBezTo>
                      <a:pt x="107850" y="332422"/>
                      <a:pt x="14505" y="290513"/>
                      <a:pt x="2123" y="206692"/>
                    </a:cubicBezTo>
                    <a:cubicBezTo>
                      <a:pt x="-4545" y="158115"/>
                      <a:pt x="4028" y="113347"/>
                      <a:pt x="34508" y="73342"/>
                    </a:cubicBezTo>
                    <a:cubicBezTo>
                      <a:pt x="60225" y="39053"/>
                      <a:pt x="59273" y="38100"/>
                      <a:pt x="45938" y="0"/>
                    </a:cubicBezTo>
                    <a:cubicBezTo>
                      <a:pt x="51653" y="953"/>
                      <a:pt x="57368" y="0"/>
                      <a:pt x="62130" y="1905"/>
                    </a:cubicBezTo>
                    <a:cubicBezTo>
                      <a:pt x="102135" y="13335"/>
                      <a:pt x="142140" y="24765"/>
                      <a:pt x="182145" y="41910"/>
                    </a:cubicBezTo>
                    <a:cubicBezTo>
                      <a:pt x="165000" y="43815"/>
                      <a:pt x="147855" y="45720"/>
                      <a:pt x="131663" y="48578"/>
                    </a:cubicBezTo>
                    <a:cubicBezTo>
                      <a:pt x="78323" y="56197"/>
                      <a:pt x="33555" y="93345"/>
                      <a:pt x="24030" y="142875"/>
                    </a:cubicBezTo>
                    <a:cubicBezTo>
                      <a:pt x="17363" y="175260"/>
                      <a:pt x="22125" y="205740"/>
                      <a:pt x="55463" y="222885"/>
                    </a:cubicBezTo>
                    <a:cubicBezTo>
                      <a:pt x="90705" y="240983"/>
                      <a:pt x="118328" y="220980"/>
                      <a:pt x="137378" y="196215"/>
                    </a:cubicBezTo>
                    <a:cubicBezTo>
                      <a:pt x="159285" y="166688"/>
                      <a:pt x="184050" y="140017"/>
                      <a:pt x="211673" y="116205"/>
                    </a:cubicBezTo>
                    <a:cubicBezTo>
                      <a:pt x="266918" y="65722"/>
                      <a:pt x="323115" y="60008"/>
                      <a:pt x="370740" y="98108"/>
                    </a:cubicBezTo>
                    <a:cubicBezTo>
                      <a:pt x="417413" y="135255"/>
                      <a:pt x="426938" y="205740"/>
                      <a:pt x="393600" y="265747"/>
                    </a:cubicBezTo>
                    <a:cubicBezTo>
                      <a:pt x="387885" y="276225"/>
                      <a:pt x="381218" y="285750"/>
                      <a:pt x="373598" y="294322"/>
                    </a:cubicBezTo>
                    <a:cubicBezTo>
                      <a:pt x="352643" y="311467"/>
                      <a:pt x="338355" y="330517"/>
                      <a:pt x="365978" y="352425"/>
                    </a:cubicBezTo>
                    <a:close/>
                  </a:path>
                </a:pathLst>
              </a:custGeom>
              <a:solidFill>
                <a:srgbClr val="055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6" name="任意多边形: 形状 155"/>
              <p:cNvSpPr/>
              <p:nvPr/>
            </p:nvSpPr>
            <p:spPr>
              <a:xfrm>
                <a:off x="7703945" y="3740093"/>
                <a:ext cx="412885" cy="308609"/>
              </a:xfrm>
              <a:custGeom>
                <a:avLst/>
                <a:gdLst>
                  <a:gd name="connsiteX0" fmla="*/ 22769 w 412885"/>
                  <a:gd name="connsiteY0" fmla="*/ 0 h 308609"/>
                  <a:gd name="connsiteX1" fmla="*/ 149452 w 412885"/>
                  <a:gd name="connsiteY1" fmla="*/ 21908 h 308609"/>
                  <a:gd name="connsiteX2" fmla="*/ 49439 w 412885"/>
                  <a:gd name="connsiteY2" fmla="*/ 68580 h 308609"/>
                  <a:gd name="connsiteX3" fmla="*/ 22769 w 412885"/>
                  <a:gd name="connsiteY3" fmla="*/ 136208 h 308609"/>
                  <a:gd name="connsiteX4" fmla="*/ 52297 w 412885"/>
                  <a:gd name="connsiteY4" fmla="*/ 187643 h 308609"/>
                  <a:gd name="connsiteX5" fmla="*/ 109447 w 412885"/>
                  <a:gd name="connsiteY5" fmla="*/ 177165 h 308609"/>
                  <a:gd name="connsiteX6" fmla="*/ 178027 w 412885"/>
                  <a:gd name="connsiteY6" fmla="*/ 91440 h 308609"/>
                  <a:gd name="connsiteX7" fmla="*/ 299947 w 412885"/>
                  <a:gd name="connsiteY7" fmla="*/ 17145 h 308609"/>
                  <a:gd name="connsiteX8" fmla="*/ 406627 w 412885"/>
                  <a:gd name="connsiteY8" fmla="*/ 186690 h 308609"/>
                  <a:gd name="connsiteX9" fmla="*/ 386624 w 412885"/>
                  <a:gd name="connsiteY9" fmla="*/ 233363 h 308609"/>
                  <a:gd name="connsiteX10" fmla="*/ 386624 w 412885"/>
                  <a:gd name="connsiteY10" fmla="*/ 308610 h 308609"/>
                  <a:gd name="connsiteX11" fmla="*/ 245654 w 412885"/>
                  <a:gd name="connsiteY11" fmla="*/ 286703 h 308609"/>
                  <a:gd name="connsiteX12" fmla="*/ 275182 w 412885"/>
                  <a:gd name="connsiteY12" fmla="*/ 272415 h 308609"/>
                  <a:gd name="connsiteX13" fmla="*/ 390434 w 412885"/>
                  <a:gd name="connsiteY13" fmla="*/ 169545 h 308609"/>
                  <a:gd name="connsiteX14" fmla="*/ 361859 w 412885"/>
                  <a:gd name="connsiteY14" fmla="*/ 98108 h 308609"/>
                  <a:gd name="connsiteX15" fmla="*/ 290422 w 412885"/>
                  <a:gd name="connsiteY15" fmla="*/ 108585 h 308609"/>
                  <a:gd name="connsiteX16" fmla="*/ 218984 w 412885"/>
                  <a:gd name="connsiteY16" fmla="*/ 197168 h 308609"/>
                  <a:gd name="connsiteX17" fmla="*/ 138974 w 412885"/>
                  <a:gd name="connsiteY17" fmla="*/ 257175 h 308609"/>
                  <a:gd name="connsiteX18" fmla="*/ 31342 w 412885"/>
                  <a:gd name="connsiteY18" fmla="*/ 227647 h 308609"/>
                  <a:gd name="connsiteX19" fmla="*/ 5624 w 412885"/>
                  <a:gd name="connsiteY19" fmla="*/ 106680 h 308609"/>
                  <a:gd name="connsiteX20" fmla="*/ 29437 w 412885"/>
                  <a:gd name="connsiteY20" fmla="*/ 58103 h 308609"/>
                  <a:gd name="connsiteX21" fmla="*/ 22769 w 412885"/>
                  <a:gd name="connsiteY21" fmla="*/ 0 h 308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12885" h="308609">
                    <a:moveTo>
                      <a:pt x="22769" y="0"/>
                    </a:moveTo>
                    <a:cubicBezTo>
                      <a:pt x="68489" y="7620"/>
                      <a:pt x="110399" y="5715"/>
                      <a:pt x="149452" y="21908"/>
                    </a:cubicBezTo>
                    <a:cubicBezTo>
                      <a:pt x="111352" y="28575"/>
                      <a:pt x="76109" y="40005"/>
                      <a:pt x="49439" y="68580"/>
                    </a:cubicBezTo>
                    <a:cubicBezTo>
                      <a:pt x="31342" y="87630"/>
                      <a:pt x="21817" y="110490"/>
                      <a:pt x="22769" y="136208"/>
                    </a:cubicBezTo>
                    <a:cubicBezTo>
                      <a:pt x="22769" y="158115"/>
                      <a:pt x="31342" y="177165"/>
                      <a:pt x="52297" y="187643"/>
                    </a:cubicBezTo>
                    <a:cubicBezTo>
                      <a:pt x="74204" y="199072"/>
                      <a:pt x="93254" y="191453"/>
                      <a:pt x="109447" y="177165"/>
                    </a:cubicBezTo>
                    <a:cubicBezTo>
                      <a:pt x="138022" y="153353"/>
                      <a:pt x="155167" y="120015"/>
                      <a:pt x="178027" y="91440"/>
                    </a:cubicBezTo>
                    <a:cubicBezTo>
                      <a:pt x="209459" y="52388"/>
                      <a:pt x="241844" y="14288"/>
                      <a:pt x="299947" y="17145"/>
                    </a:cubicBezTo>
                    <a:cubicBezTo>
                      <a:pt x="379957" y="20955"/>
                      <a:pt x="431392" y="100965"/>
                      <a:pt x="406627" y="186690"/>
                    </a:cubicBezTo>
                    <a:cubicBezTo>
                      <a:pt x="401864" y="202883"/>
                      <a:pt x="395197" y="218122"/>
                      <a:pt x="386624" y="233363"/>
                    </a:cubicBezTo>
                    <a:cubicBezTo>
                      <a:pt x="366622" y="269558"/>
                      <a:pt x="366622" y="269558"/>
                      <a:pt x="386624" y="308610"/>
                    </a:cubicBezTo>
                    <a:cubicBezTo>
                      <a:pt x="338047" y="300990"/>
                      <a:pt x="292327" y="293370"/>
                      <a:pt x="245654" y="286703"/>
                    </a:cubicBezTo>
                    <a:cubicBezTo>
                      <a:pt x="250417" y="268605"/>
                      <a:pt x="264704" y="274320"/>
                      <a:pt x="275182" y="272415"/>
                    </a:cubicBezTo>
                    <a:cubicBezTo>
                      <a:pt x="334237" y="262890"/>
                      <a:pt x="379004" y="223838"/>
                      <a:pt x="390434" y="169545"/>
                    </a:cubicBezTo>
                    <a:cubicBezTo>
                      <a:pt x="397102" y="140018"/>
                      <a:pt x="387577" y="114300"/>
                      <a:pt x="361859" y="98108"/>
                    </a:cubicBezTo>
                    <a:cubicBezTo>
                      <a:pt x="336142" y="82868"/>
                      <a:pt x="309472" y="87630"/>
                      <a:pt x="290422" y="108585"/>
                    </a:cubicBezTo>
                    <a:cubicBezTo>
                      <a:pt x="264704" y="136208"/>
                      <a:pt x="242797" y="167640"/>
                      <a:pt x="218984" y="197168"/>
                    </a:cubicBezTo>
                    <a:cubicBezTo>
                      <a:pt x="197077" y="223838"/>
                      <a:pt x="174217" y="248603"/>
                      <a:pt x="138974" y="257175"/>
                    </a:cubicBezTo>
                    <a:cubicBezTo>
                      <a:pt x="98017" y="266700"/>
                      <a:pt x="60869" y="259080"/>
                      <a:pt x="31342" y="227647"/>
                    </a:cubicBezTo>
                    <a:cubicBezTo>
                      <a:pt x="-1043" y="192405"/>
                      <a:pt x="-5806" y="151447"/>
                      <a:pt x="5624" y="106680"/>
                    </a:cubicBezTo>
                    <a:cubicBezTo>
                      <a:pt x="10387" y="88583"/>
                      <a:pt x="18959" y="73343"/>
                      <a:pt x="29437" y="58103"/>
                    </a:cubicBezTo>
                    <a:cubicBezTo>
                      <a:pt x="41819" y="38100"/>
                      <a:pt x="57059" y="19050"/>
                      <a:pt x="22769" y="0"/>
                    </a:cubicBezTo>
                    <a:close/>
                  </a:path>
                </a:pathLst>
              </a:custGeom>
              <a:solidFill>
                <a:srgbClr val="055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任意多边形: 形状 156"/>
              <p:cNvSpPr/>
              <p:nvPr/>
            </p:nvSpPr>
            <p:spPr>
              <a:xfrm>
                <a:off x="4276759" y="4354456"/>
                <a:ext cx="455295" cy="404812"/>
              </a:xfrm>
              <a:custGeom>
                <a:avLst/>
                <a:gdLst>
                  <a:gd name="connsiteX0" fmla="*/ 74295 w 455295"/>
                  <a:gd name="connsiteY0" fmla="*/ 158115 h 404812"/>
                  <a:gd name="connsiteX1" fmla="*/ 0 w 455295"/>
                  <a:gd name="connsiteY1" fmla="*/ 45720 h 404812"/>
                  <a:gd name="connsiteX2" fmla="*/ 190500 w 455295"/>
                  <a:gd name="connsiteY2" fmla="*/ 40005 h 404812"/>
                  <a:gd name="connsiteX3" fmla="*/ 455295 w 455295"/>
                  <a:gd name="connsiteY3" fmla="*/ 0 h 404812"/>
                  <a:gd name="connsiteX4" fmla="*/ 391478 w 455295"/>
                  <a:gd name="connsiteY4" fmla="*/ 99060 h 404812"/>
                  <a:gd name="connsiteX5" fmla="*/ 252413 w 455295"/>
                  <a:gd name="connsiteY5" fmla="*/ 316230 h 404812"/>
                  <a:gd name="connsiteX6" fmla="*/ 232410 w 455295"/>
                  <a:gd name="connsiteY6" fmla="*/ 404813 h 404812"/>
                  <a:gd name="connsiteX7" fmla="*/ 122873 w 455295"/>
                  <a:gd name="connsiteY7" fmla="*/ 235268 h 404812"/>
                  <a:gd name="connsiteX8" fmla="*/ 144780 w 455295"/>
                  <a:gd name="connsiteY8" fmla="*/ 246697 h 404812"/>
                  <a:gd name="connsiteX9" fmla="*/ 168593 w 455295"/>
                  <a:gd name="connsiteY9" fmla="*/ 255270 h 404812"/>
                  <a:gd name="connsiteX10" fmla="*/ 218123 w 455295"/>
                  <a:gd name="connsiteY10" fmla="*/ 190500 h 404812"/>
                  <a:gd name="connsiteX11" fmla="*/ 203835 w 455295"/>
                  <a:gd name="connsiteY11" fmla="*/ 157163 h 404812"/>
                  <a:gd name="connsiteX12" fmla="*/ 167640 w 455295"/>
                  <a:gd name="connsiteY12" fmla="*/ 100965 h 404812"/>
                  <a:gd name="connsiteX13" fmla="*/ 110490 w 455295"/>
                  <a:gd name="connsiteY13" fmla="*/ 73343 h 404812"/>
                  <a:gd name="connsiteX14" fmla="*/ 74295 w 455295"/>
                  <a:gd name="connsiteY14" fmla="*/ 158115 h 404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55295" h="404812">
                    <a:moveTo>
                      <a:pt x="74295" y="158115"/>
                    </a:moveTo>
                    <a:cubicBezTo>
                      <a:pt x="45720" y="115253"/>
                      <a:pt x="22860" y="80010"/>
                      <a:pt x="0" y="45720"/>
                    </a:cubicBezTo>
                    <a:cubicBezTo>
                      <a:pt x="66675" y="80010"/>
                      <a:pt x="128588" y="46672"/>
                      <a:pt x="190500" y="40005"/>
                    </a:cubicBezTo>
                    <a:cubicBezTo>
                      <a:pt x="276225" y="30480"/>
                      <a:pt x="360998" y="14288"/>
                      <a:pt x="455295" y="0"/>
                    </a:cubicBezTo>
                    <a:cubicBezTo>
                      <a:pt x="430530" y="38100"/>
                      <a:pt x="410528" y="68580"/>
                      <a:pt x="391478" y="99060"/>
                    </a:cubicBezTo>
                    <a:cubicBezTo>
                      <a:pt x="345758" y="171450"/>
                      <a:pt x="293370" y="240030"/>
                      <a:pt x="252413" y="316230"/>
                    </a:cubicBezTo>
                    <a:cubicBezTo>
                      <a:pt x="239078" y="341947"/>
                      <a:pt x="225743" y="365760"/>
                      <a:pt x="232410" y="404813"/>
                    </a:cubicBezTo>
                    <a:cubicBezTo>
                      <a:pt x="181928" y="349568"/>
                      <a:pt x="159068" y="288608"/>
                      <a:pt x="122873" y="235268"/>
                    </a:cubicBezTo>
                    <a:cubicBezTo>
                      <a:pt x="137160" y="227647"/>
                      <a:pt x="139065" y="240983"/>
                      <a:pt x="144780" y="246697"/>
                    </a:cubicBezTo>
                    <a:cubicBezTo>
                      <a:pt x="152400" y="252413"/>
                      <a:pt x="160020" y="260985"/>
                      <a:pt x="168593" y="255270"/>
                    </a:cubicBezTo>
                    <a:cubicBezTo>
                      <a:pt x="192405" y="240030"/>
                      <a:pt x="202883" y="212408"/>
                      <a:pt x="218123" y="190500"/>
                    </a:cubicBezTo>
                    <a:cubicBezTo>
                      <a:pt x="227648" y="176213"/>
                      <a:pt x="209550" y="167640"/>
                      <a:pt x="203835" y="157163"/>
                    </a:cubicBezTo>
                    <a:cubicBezTo>
                      <a:pt x="193358" y="138113"/>
                      <a:pt x="177165" y="120968"/>
                      <a:pt x="167640" y="100965"/>
                    </a:cubicBezTo>
                    <a:cubicBezTo>
                      <a:pt x="155258" y="75247"/>
                      <a:pt x="141923" y="64770"/>
                      <a:pt x="110490" y="73343"/>
                    </a:cubicBezTo>
                    <a:cubicBezTo>
                      <a:pt x="66675" y="86678"/>
                      <a:pt x="64770" y="87630"/>
                      <a:pt x="74295" y="158115"/>
                    </a:cubicBezTo>
                    <a:close/>
                  </a:path>
                </a:pathLst>
              </a:custGeom>
              <a:solidFill>
                <a:srgbClr val="055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任意多边形: 形状 157"/>
              <p:cNvSpPr/>
              <p:nvPr/>
            </p:nvSpPr>
            <p:spPr>
              <a:xfrm>
                <a:off x="7627655" y="2702821"/>
                <a:ext cx="442258" cy="414337"/>
              </a:xfrm>
              <a:custGeom>
                <a:avLst/>
                <a:gdLst>
                  <a:gd name="connsiteX0" fmla="*/ 430530 w 442258"/>
                  <a:gd name="connsiteY0" fmla="*/ 160972 h 414337"/>
                  <a:gd name="connsiteX1" fmla="*/ 292418 w 442258"/>
                  <a:gd name="connsiteY1" fmla="*/ 204788 h 414337"/>
                  <a:gd name="connsiteX2" fmla="*/ 140018 w 442258"/>
                  <a:gd name="connsiteY2" fmla="*/ 358140 h 414337"/>
                  <a:gd name="connsiteX3" fmla="*/ 110490 w 442258"/>
                  <a:gd name="connsiteY3" fmla="*/ 414338 h 414337"/>
                  <a:gd name="connsiteX4" fmla="*/ 60007 w 442258"/>
                  <a:gd name="connsiteY4" fmla="*/ 242888 h 414337"/>
                  <a:gd name="connsiteX5" fmla="*/ 121920 w 442258"/>
                  <a:gd name="connsiteY5" fmla="*/ 246697 h 414337"/>
                  <a:gd name="connsiteX6" fmla="*/ 225743 w 442258"/>
                  <a:gd name="connsiteY6" fmla="*/ 136208 h 414337"/>
                  <a:gd name="connsiteX7" fmla="*/ 218122 w 442258"/>
                  <a:gd name="connsiteY7" fmla="*/ 111442 h 414337"/>
                  <a:gd name="connsiteX8" fmla="*/ 81915 w 442258"/>
                  <a:gd name="connsiteY8" fmla="*/ 76200 h 414337"/>
                  <a:gd name="connsiteX9" fmla="*/ 30480 w 442258"/>
                  <a:gd name="connsiteY9" fmla="*/ 119063 h 414337"/>
                  <a:gd name="connsiteX10" fmla="*/ 0 w 442258"/>
                  <a:gd name="connsiteY10" fmla="*/ 12383 h 414337"/>
                  <a:gd name="connsiteX11" fmla="*/ 89535 w 442258"/>
                  <a:gd name="connsiteY11" fmla="*/ 57150 h 414337"/>
                  <a:gd name="connsiteX12" fmla="*/ 176213 w 442258"/>
                  <a:gd name="connsiteY12" fmla="*/ 80010 h 414337"/>
                  <a:gd name="connsiteX13" fmla="*/ 342900 w 442258"/>
                  <a:gd name="connsiteY13" fmla="*/ 77153 h 414337"/>
                  <a:gd name="connsiteX14" fmla="*/ 399097 w 442258"/>
                  <a:gd name="connsiteY14" fmla="*/ 0 h 414337"/>
                  <a:gd name="connsiteX15" fmla="*/ 439103 w 442258"/>
                  <a:gd name="connsiteY15" fmla="*/ 144780 h 414337"/>
                  <a:gd name="connsiteX16" fmla="*/ 430530 w 442258"/>
                  <a:gd name="connsiteY16" fmla="*/ 160972 h 414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42258" h="414337">
                    <a:moveTo>
                      <a:pt x="430530" y="160972"/>
                    </a:moveTo>
                    <a:cubicBezTo>
                      <a:pt x="377190" y="151447"/>
                      <a:pt x="329565" y="170497"/>
                      <a:pt x="292418" y="204788"/>
                    </a:cubicBezTo>
                    <a:cubicBezTo>
                      <a:pt x="239078" y="252413"/>
                      <a:pt x="190500" y="306705"/>
                      <a:pt x="140018" y="358140"/>
                    </a:cubicBezTo>
                    <a:cubicBezTo>
                      <a:pt x="124778" y="373380"/>
                      <a:pt x="113347" y="390525"/>
                      <a:pt x="110490" y="414338"/>
                    </a:cubicBezTo>
                    <a:cubicBezTo>
                      <a:pt x="93345" y="357188"/>
                      <a:pt x="77153" y="300038"/>
                      <a:pt x="60007" y="242888"/>
                    </a:cubicBezTo>
                    <a:cubicBezTo>
                      <a:pt x="80010" y="281940"/>
                      <a:pt x="100965" y="268605"/>
                      <a:pt x="121920" y="246697"/>
                    </a:cubicBezTo>
                    <a:cubicBezTo>
                      <a:pt x="156210" y="209550"/>
                      <a:pt x="190500" y="172403"/>
                      <a:pt x="225743" y="136208"/>
                    </a:cubicBezTo>
                    <a:cubicBezTo>
                      <a:pt x="239078" y="121920"/>
                      <a:pt x="237172" y="116205"/>
                      <a:pt x="218122" y="111442"/>
                    </a:cubicBezTo>
                    <a:cubicBezTo>
                      <a:pt x="172403" y="100965"/>
                      <a:pt x="127635" y="86678"/>
                      <a:pt x="81915" y="76200"/>
                    </a:cubicBezTo>
                    <a:cubicBezTo>
                      <a:pt x="40957" y="66675"/>
                      <a:pt x="31432" y="75247"/>
                      <a:pt x="30480" y="119063"/>
                    </a:cubicBezTo>
                    <a:cubicBezTo>
                      <a:pt x="14288" y="85725"/>
                      <a:pt x="3810" y="51435"/>
                      <a:pt x="0" y="12383"/>
                    </a:cubicBezTo>
                    <a:cubicBezTo>
                      <a:pt x="21907" y="43815"/>
                      <a:pt x="58103" y="46672"/>
                      <a:pt x="89535" y="57150"/>
                    </a:cubicBezTo>
                    <a:cubicBezTo>
                      <a:pt x="118110" y="65722"/>
                      <a:pt x="148590" y="69533"/>
                      <a:pt x="176213" y="80010"/>
                    </a:cubicBezTo>
                    <a:cubicBezTo>
                      <a:pt x="232410" y="100013"/>
                      <a:pt x="286703" y="98108"/>
                      <a:pt x="342900" y="77153"/>
                    </a:cubicBezTo>
                    <a:cubicBezTo>
                      <a:pt x="399097" y="56197"/>
                      <a:pt x="401003" y="58103"/>
                      <a:pt x="399097" y="0"/>
                    </a:cubicBezTo>
                    <a:cubicBezTo>
                      <a:pt x="412432" y="48578"/>
                      <a:pt x="425768" y="96203"/>
                      <a:pt x="439103" y="144780"/>
                    </a:cubicBezTo>
                    <a:cubicBezTo>
                      <a:pt x="443865" y="154305"/>
                      <a:pt x="444818" y="161925"/>
                      <a:pt x="430530" y="160972"/>
                    </a:cubicBezTo>
                    <a:close/>
                  </a:path>
                </a:pathLst>
              </a:custGeom>
              <a:solidFill>
                <a:srgbClr val="045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任意多边形: 形状 158"/>
              <p:cNvSpPr/>
              <p:nvPr/>
            </p:nvSpPr>
            <p:spPr>
              <a:xfrm>
                <a:off x="7741209" y="3123063"/>
                <a:ext cx="421750" cy="365570"/>
              </a:xfrm>
              <a:custGeom>
                <a:avLst/>
                <a:gdLst>
                  <a:gd name="connsiteX0" fmla="*/ 110283 w 421750"/>
                  <a:gd name="connsiteY0" fmla="*/ 1715 h 365570"/>
                  <a:gd name="connsiteX1" fmla="*/ 32178 w 421750"/>
                  <a:gd name="connsiteY1" fmla="*/ 108395 h 365570"/>
                  <a:gd name="connsiteX2" fmla="*/ 63610 w 421750"/>
                  <a:gd name="connsiteY2" fmla="*/ 133160 h 365570"/>
                  <a:gd name="connsiteX3" fmla="*/ 269350 w 421750"/>
                  <a:gd name="connsiteY3" fmla="*/ 105538 h 365570"/>
                  <a:gd name="connsiteX4" fmla="*/ 331263 w 421750"/>
                  <a:gd name="connsiteY4" fmla="*/ 97918 h 365570"/>
                  <a:gd name="connsiteX5" fmla="*/ 396033 w 421750"/>
                  <a:gd name="connsiteY5" fmla="*/ 36005 h 365570"/>
                  <a:gd name="connsiteX6" fmla="*/ 421750 w 421750"/>
                  <a:gd name="connsiteY6" fmla="*/ 232220 h 365570"/>
                  <a:gd name="connsiteX7" fmla="*/ 354123 w 421750"/>
                  <a:gd name="connsiteY7" fmla="*/ 189358 h 365570"/>
                  <a:gd name="connsiteX8" fmla="*/ 74088 w 421750"/>
                  <a:gd name="connsiteY8" fmla="*/ 226505 h 365570"/>
                  <a:gd name="connsiteX9" fmla="*/ 50275 w 421750"/>
                  <a:gd name="connsiteY9" fmla="*/ 258890 h 365570"/>
                  <a:gd name="connsiteX10" fmla="*/ 142668 w 421750"/>
                  <a:gd name="connsiteY10" fmla="*/ 341758 h 365570"/>
                  <a:gd name="connsiteX11" fmla="*/ 95043 w 421750"/>
                  <a:gd name="connsiteY11" fmla="*/ 360808 h 365570"/>
                  <a:gd name="connsiteX12" fmla="*/ 43608 w 421750"/>
                  <a:gd name="connsiteY12" fmla="*/ 365570 h 365570"/>
                  <a:gd name="connsiteX13" fmla="*/ 745 w 421750"/>
                  <a:gd name="connsiteY13" fmla="*/ 35053 h 365570"/>
                  <a:gd name="connsiteX14" fmla="*/ 25510 w 421750"/>
                  <a:gd name="connsiteY14" fmla="*/ 5525 h 365570"/>
                  <a:gd name="connsiteX15" fmla="*/ 110283 w 421750"/>
                  <a:gd name="connsiteY15" fmla="*/ 1715 h 365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21750" h="365570">
                    <a:moveTo>
                      <a:pt x="110283" y="1715"/>
                    </a:moveTo>
                    <a:cubicBezTo>
                      <a:pt x="56943" y="25528"/>
                      <a:pt x="22653" y="50293"/>
                      <a:pt x="32178" y="108395"/>
                    </a:cubicBezTo>
                    <a:cubicBezTo>
                      <a:pt x="35988" y="132208"/>
                      <a:pt x="43608" y="136018"/>
                      <a:pt x="63610" y="133160"/>
                    </a:cubicBezTo>
                    <a:cubicBezTo>
                      <a:pt x="132190" y="123635"/>
                      <a:pt x="200770" y="115063"/>
                      <a:pt x="269350" y="105538"/>
                    </a:cubicBezTo>
                    <a:cubicBezTo>
                      <a:pt x="290305" y="102680"/>
                      <a:pt x="310308" y="98870"/>
                      <a:pt x="331263" y="97918"/>
                    </a:cubicBezTo>
                    <a:cubicBezTo>
                      <a:pt x="371268" y="96013"/>
                      <a:pt x="397938" y="82678"/>
                      <a:pt x="396033" y="36005"/>
                    </a:cubicBezTo>
                    <a:cubicBezTo>
                      <a:pt x="404605" y="101728"/>
                      <a:pt x="413178" y="166498"/>
                      <a:pt x="421750" y="232220"/>
                    </a:cubicBezTo>
                    <a:cubicBezTo>
                      <a:pt x="411273" y="196978"/>
                      <a:pt x="390318" y="183643"/>
                      <a:pt x="354123" y="189358"/>
                    </a:cubicBezTo>
                    <a:cubicBezTo>
                      <a:pt x="260778" y="202693"/>
                      <a:pt x="167433" y="215075"/>
                      <a:pt x="74088" y="226505"/>
                    </a:cubicBezTo>
                    <a:cubicBezTo>
                      <a:pt x="51228" y="229363"/>
                      <a:pt x="46465" y="238888"/>
                      <a:pt x="50275" y="258890"/>
                    </a:cubicBezTo>
                    <a:cubicBezTo>
                      <a:pt x="58848" y="305563"/>
                      <a:pt x="69325" y="316040"/>
                      <a:pt x="142668" y="341758"/>
                    </a:cubicBezTo>
                    <a:cubicBezTo>
                      <a:pt x="125523" y="348425"/>
                      <a:pt x="111235" y="356998"/>
                      <a:pt x="95043" y="360808"/>
                    </a:cubicBezTo>
                    <a:cubicBezTo>
                      <a:pt x="78850" y="364618"/>
                      <a:pt x="61705" y="364618"/>
                      <a:pt x="43608" y="365570"/>
                    </a:cubicBezTo>
                    <a:cubicBezTo>
                      <a:pt x="29320" y="255080"/>
                      <a:pt x="15985" y="145543"/>
                      <a:pt x="745" y="35053"/>
                    </a:cubicBezTo>
                    <a:cubicBezTo>
                      <a:pt x="-2112" y="13145"/>
                      <a:pt x="2650" y="5525"/>
                      <a:pt x="25510" y="5525"/>
                    </a:cubicBezTo>
                    <a:cubicBezTo>
                      <a:pt x="51228" y="6478"/>
                      <a:pt x="75040" y="-4000"/>
                      <a:pt x="110283" y="1715"/>
                    </a:cubicBezTo>
                    <a:close/>
                  </a:path>
                </a:pathLst>
              </a:custGeom>
              <a:solidFill>
                <a:srgbClr val="0357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任意多边形: 形状 159"/>
              <p:cNvSpPr/>
              <p:nvPr/>
            </p:nvSpPr>
            <p:spPr>
              <a:xfrm>
                <a:off x="7761957" y="3506731"/>
                <a:ext cx="391175" cy="193357"/>
              </a:xfrm>
              <a:custGeom>
                <a:avLst/>
                <a:gdLst>
                  <a:gd name="connsiteX0" fmla="*/ 388620 w 391175"/>
                  <a:gd name="connsiteY0" fmla="*/ 8572 h 193357"/>
                  <a:gd name="connsiteX1" fmla="*/ 382905 w 391175"/>
                  <a:gd name="connsiteY1" fmla="*/ 191453 h 193357"/>
                  <a:gd name="connsiteX2" fmla="*/ 318135 w 391175"/>
                  <a:gd name="connsiteY2" fmla="*/ 151447 h 193357"/>
                  <a:gd name="connsiteX3" fmla="*/ 75247 w 391175"/>
                  <a:gd name="connsiteY3" fmla="*/ 145733 h 193357"/>
                  <a:gd name="connsiteX4" fmla="*/ 0 w 391175"/>
                  <a:gd name="connsiteY4" fmla="*/ 193358 h 193357"/>
                  <a:gd name="connsiteX5" fmla="*/ 0 w 391175"/>
                  <a:gd name="connsiteY5" fmla="*/ 0 h 193357"/>
                  <a:gd name="connsiteX6" fmla="*/ 77153 w 391175"/>
                  <a:gd name="connsiteY6" fmla="*/ 53340 h 193357"/>
                  <a:gd name="connsiteX7" fmla="*/ 324803 w 391175"/>
                  <a:gd name="connsiteY7" fmla="*/ 57150 h 193357"/>
                  <a:gd name="connsiteX8" fmla="*/ 388620 w 391175"/>
                  <a:gd name="connsiteY8" fmla="*/ 8572 h 193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91175" h="193357">
                    <a:moveTo>
                      <a:pt x="388620" y="8572"/>
                    </a:moveTo>
                    <a:cubicBezTo>
                      <a:pt x="391478" y="67628"/>
                      <a:pt x="394335" y="127635"/>
                      <a:pt x="382905" y="191453"/>
                    </a:cubicBezTo>
                    <a:cubicBezTo>
                      <a:pt x="377190" y="147638"/>
                      <a:pt x="346710" y="151447"/>
                      <a:pt x="318135" y="151447"/>
                    </a:cubicBezTo>
                    <a:cubicBezTo>
                      <a:pt x="237172" y="149543"/>
                      <a:pt x="156210" y="147638"/>
                      <a:pt x="75247" y="145733"/>
                    </a:cubicBezTo>
                    <a:cubicBezTo>
                      <a:pt x="40005" y="144780"/>
                      <a:pt x="4763" y="143828"/>
                      <a:pt x="0" y="193358"/>
                    </a:cubicBezTo>
                    <a:cubicBezTo>
                      <a:pt x="0" y="128588"/>
                      <a:pt x="0" y="64770"/>
                      <a:pt x="0" y="0"/>
                    </a:cubicBezTo>
                    <a:cubicBezTo>
                      <a:pt x="1905" y="53340"/>
                      <a:pt x="39053" y="53340"/>
                      <a:pt x="77153" y="53340"/>
                    </a:cubicBezTo>
                    <a:cubicBezTo>
                      <a:pt x="160020" y="54293"/>
                      <a:pt x="241935" y="56197"/>
                      <a:pt x="324803" y="57150"/>
                    </a:cubicBezTo>
                    <a:cubicBezTo>
                      <a:pt x="368617" y="57150"/>
                      <a:pt x="372428" y="53340"/>
                      <a:pt x="388620" y="8572"/>
                    </a:cubicBezTo>
                    <a:close/>
                  </a:path>
                </a:pathLst>
              </a:custGeom>
              <a:solidFill>
                <a:srgbClr val="025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任意多边形: 形状 160"/>
              <p:cNvSpPr/>
              <p:nvPr/>
            </p:nvSpPr>
            <p:spPr>
              <a:xfrm>
                <a:off x="4882523" y="4867194"/>
                <a:ext cx="137186" cy="121362"/>
              </a:xfrm>
              <a:custGeom>
                <a:avLst/>
                <a:gdLst>
                  <a:gd name="connsiteX0" fmla="*/ 137186 w 137186"/>
                  <a:gd name="connsiteY0" fmla="*/ 83527 h 121362"/>
                  <a:gd name="connsiteX1" fmla="*/ 113374 w 137186"/>
                  <a:gd name="connsiteY1" fmla="*/ 116865 h 121362"/>
                  <a:gd name="connsiteX2" fmla="*/ 90514 w 137186"/>
                  <a:gd name="connsiteY2" fmla="*/ 112102 h 121362"/>
                  <a:gd name="connsiteX3" fmla="*/ 19076 w 137186"/>
                  <a:gd name="connsiteY3" fmla="*/ 57810 h 121362"/>
                  <a:gd name="connsiteX4" fmla="*/ 9551 w 137186"/>
                  <a:gd name="connsiteY4" fmla="*/ 13042 h 121362"/>
                  <a:gd name="connsiteX5" fmla="*/ 51461 w 137186"/>
                  <a:gd name="connsiteY5" fmla="*/ 16852 h 121362"/>
                  <a:gd name="connsiteX6" fmla="*/ 119089 w 137186"/>
                  <a:gd name="connsiteY6" fmla="*/ 69240 h 121362"/>
                  <a:gd name="connsiteX7" fmla="*/ 137186 w 137186"/>
                  <a:gd name="connsiteY7" fmla="*/ 83527 h 12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7186" h="121362">
                    <a:moveTo>
                      <a:pt x="137186" y="83527"/>
                    </a:moveTo>
                    <a:cubicBezTo>
                      <a:pt x="128614" y="95910"/>
                      <a:pt x="121946" y="107340"/>
                      <a:pt x="113374" y="116865"/>
                    </a:cubicBezTo>
                    <a:cubicBezTo>
                      <a:pt x="103849" y="127342"/>
                      <a:pt x="96229" y="116865"/>
                      <a:pt x="90514" y="112102"/>
                    </a:cubicBezTo>
                    <a:cubicBezTo>
                      <a:pt x="66701" y="94005"/>
                      <a:pt x="43841" y="74002"/>
                      <a:pt x="19076" y="57810"/>
                    </a:cubicBezTo>
                    <a:cubicBezTo>
                      <a:pt x="26" y="44475"/>
                      <a:pt x="-7594" y="35902"/>
                      <a:pt x="9551" y="13042"/>
                    </a:cubicBezTo>
                    <a:cubicBezTo>
                      <a:pt x="29554" y="-13628"/>
                      <a:pt x="39079" y="7327"/>
                      <a:pt x="51461" y="16852"/>
                    </a:cubicBezTo>
                    <a:cubicBezTo>
                      <a:pt x="74321" y="33997"/>
                      <a:pt x="97181" y="52095"/>
                      <a:pt x="119089" y="69240"/>
                    </a:cubicBezTo>
                    <a:cubicBezTo>
                      <a:pt x="125756" y="73050"/>
                      <a:pt x="131471" y="78765"/>
                      <a:pt x="137186" y="83527"/>
                    </a:cubicBezTo>
                    <a:close/>
                  </a:path>
                </a:pathLst>
              </a:custGeom>
              <a:solidFill>
                <a:srgbClr val="0A56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任意多边形: 形状 161"/>
              <p:cNvSpPr/>
              <p:nvPr/>
            </p:nvSpPr>
            <p:spPr>
              <a:xfrm>
                <a:off x="5082575" y="5232661"/>
                <a:ext cx="57150" cy="19422"/>
              </a:xfrm>
              <a:custGeom>
                <a:avLst/>
                <a:gdLst>
                  <a:gd name="connsiteX0" fmla="*/ 0 w 57150"/>
                  <a:gd name="connsiteY0" fmla="*/ 0 h 19422"/>
                  <a:gd name="connsiteX1" fmla="*/ 57150 w 57150"/>
                  <a:gd name="connsiteY1" fmla="*/ 953 h 19422"/>
                  <a:gd name="connsiteX2" fmla="*/ 0 w 57150"/>
                  <a:gd name="connsiteY2" fmla="*/ 0 h 19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7150" h="19422">
                    <a:moveTo>
                      <a:pt x="0" y="0"/>
                    </a:moveTo>
                    <a:cubicBezTo>
                      <a:pt x="19050" y="0"/>
                      <a:pt x="38100" y="953"/>
                      <a:pt x="57150" y="953"/>
                    </a:cubicBezTo>
                    <a:cubicBezTo>
                      <a:pt x="38100" y="26670"/>
                      <a:pt x="19050" y="24765"/>
                      <a:pt x="0" y="0"/>
                    </a:cubicBezTo>
                    <a:close/>
                  </a:path>
                </a:pathLst>
              </a:custGeom>
              <a:solidFill>
                <a:srgbClr val="5E856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任意多边形: 形状 162"/>
              <p:cNvSpPr/>
              <p:nvPr/>
            </p:nvSpPr>
            <p:spPr>
              <a:xfrm>
                <a:off x="8058185" y="2846649"/>
                <a:ext cx="22271" cy="70484"/>
              </a:xfrm>
              <a:custGeom>
                <a:avLst/>
                <a:gdLst>
                  <a:gd name="connsiteX0" fmla="*/ 0 w 22271"/>
                  <a:gd name="connsiteY0" fmla="*/ 17145 h 70484"/>
                  <a:gd name="connsiteX1" fmla="*/ 9525 w 22271"/>
                  <a:gd name="connsiteY1" fmla="*/ 0 h 70484"/>
                  <a:gd name="connsiteX2" fmla="*/ 20955 w 22271"/>
                  <a:gd name="connsiteY2" fmla="*/ 70485 h 70484"/>
                  <a:gd name="connsiteX3" fmla="*/ 0 w 22271"/>
                  <a:gd name="connsiteY3" fmla="*/ 17145 h 7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271" h="70484">
                    <a:moveTo>
                      <a:pt x="0" y="17145"/>
                    </a:moveTo>
                    <a:cubicBezTo>
                      <a:pt x="7620" y="14288"/>
                      <a:pt x="7620" y="6667"/>
                      <a:pt x="9525" y="0"/>
                    </a:cubicBezTo>
                    <a:cubicBezTo>
                      <a:pt x="22860" y="20955"/>
                      <a:pt x="23813" y="44767"/>
                      <a:pt x="20955" y="70485"/>
                    </a:cubicBezTo>
                    <a:cubicBezTo>
                      <a:pt x="14288" y="52388"/>
                      <a:pt x="6667" y="35242"/>
                      <a:pt x="0" y="17145"/>
                    </a:cubicBezTo>
                    <a:close/>
                  </a:path>
                </a:pathLst>
              </a:custGeom>
              <a:solidFill>
                <a:srgbClr val="476B5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任意多边形: 形状 163"/>
              <p:cNvSpPr/>
              <p:nvPr/>
            </p:nvSpPr>
            <p:spPr>
              <a:xfrm>
                <a:off x="4130074" y="3469584"/>
                <a:ext cx="40957" cy="18218"/>
              </a:xfrm>
              <a:custGeom>
                <a:avLst/>
                <a:gdLst>
                  <a:gd name="connsiteX0" fmla="*/ 40957 w 40957"/>
                  <a:gd name="connsiteY0" fmla="*/ 0 h 18218"/>
                  <a:gd name="connsiteX1" fmla="*/ 0 w 40957"/>
                  <a:gd name="connsiteY1" fmla="*/ 0 h 18218"/>
                  <a:gd name="connsiteX2" fmla="*/ 40957 w 40957"/>
                  <a:gd name="connsiteY2" fmla="*/ 0 h 182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57" h="18218">
                    <a:moveTo>
                      <a:pt x="40957" y="0"/>
                    </a:moveTo>
                    <a:cubicBezTo>
                      <a:pt x="27622" y="23813"/>
                      <a:pt x="14288" y="24765"/>
                      <a:pt x="0" y="0"/>
                    </a:cubicBezTo>
                    <a:cubicBezTo>
                      <a:pt x="13335" y="953"/>
                      <a:pt x="27622" y="0"/>
                      <a:pt x="40957" y="0"/>
                    </a:cubicBezTo>
                    <a:close/>
                  </a:path>
                </a:pathLst>
              </a:custGeom>
              <a:solidFill>
                <a:srgbClr val="6C967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任意多边形: 形状 164"/>
              <p:cNvSpPr/>
              <p:nvPr/>
            </p:nvSpPr>
            <p:spPr>
              <a:xfrm>
                <a:off x="4911226" y="2421829"/>
                <a:ext cx="2377338" cy="2194223"/>
              </a:xfrm>
              <a:custGeom>
                <a:avLst/>
                <a:gdLst>
                  <a:gd name="connsiteX0" fmla="*/ 2377339 w 2377338"/>
                  <a:gd name="connsiteY0" fmla="*/ 1100142 h 2194223"/>
                  <a:gd name="connsiteX1" fmla="*/ 2123022 w 2377338"/>
                  <a:gd name="connsiteY1" fmla="*/ 1624969 h 2194223"/>
                  <a:gd name="connsiteX2" fmla="*/ 1704874 w 2377338"/>
                  <a:gd name="connsiteY2" fmla="*/ 1771654 h 2194223"/>
                  <a:gd name="connsiteX3" fmla="*/ 1668679 w 2377338"/>
                  <a:gd name="connsiteY3" fmla="*/ 1800229 h 2194223"/>
                  <a:gd name="connsiteX4" fmla="*/ 1296251 w 2377338"/>
                  <a:gd name="connsiteY4" fmla="*/ 2181229 h 2194223"/>
                  <a:gd name="connsiteX5" fmla="*/ 709512 w 2377338"/>
                  <a:gd name="connsiteY5" fmla="*/ 1801182 h 2194223"/>
                  <a:gd name="connsiteX6" fmla="*/ 671412 w 2377338"/>
                  <a:gd name="connsiteY6" fmla="*/ 1771654 h 2194223"/>
                  <a:gd name="connsiteX7" fmla="*/ 314224 w 2377338"/>
                  <a:gd name="connsiteY7" fmla="*/ 1671642 h 2194223"/>
                  <a:gd name="connsiteX8" fmla="*/ 1804 w 2377338"/>
                  <a:gd name="connsiteY8" fmla="*/ 1055374 h 2194223"/>
                  <a:gd name="connsiteX9" fmla="*/ 406616 w 2377338"/>
                  <a:gd name="connsiteY9" fmla="*/ 480064 h 2194223"/>
                  <a:gd name="connsiteX10" fmla="*/ 673316 w 2377338"/>
                  <a:gd name="connsiteY10" fmla="*/ 424819 h 2194223"/>
                  <a:gd name="connsiteX11" fmla="*/ 707607 w 2377338"/>
                  <a:gd name="connsiteY11" fmla="*/ 396244 h 2194223"/>
                  <a:gd name="connsiteX12" fmla="*/ 1183857 w 2377338"/>
                  <a:gd name="connsiteY12" fmla="*/ 4 h 2194223"/>
                  <a:gd name="connsiteX13" fmla="*/ 1667726 w 2377338"/>
                  <a:gd name="connsiteY13" fmla="*/ 391482 h 2194223"/>
                  <a:gd name="connsiteX14" fmla="*/ 1707732 w 2377338"/>
                  <a:gd name="connsiteY14" fmla="*/ 424819 h 2194223"/>
                  <a:gd name="connsiteX15" fmla="*/ 1897279 w 2377338"/>
                  <a:gd name="connsiteY15" fmla="*/ 449584 h 2194223"/>
                  <a:gd name="connsiteX16" fmla="*/ 2223034 w 2377338"/>
                  <a:gd name="connsiteY16" fmla="*/ 669612 h 2194223"/>
                  <a:gd name="connsiteX17" fmla="*/ 2368767 w 2377338"/>
                  <a:gd name="connsiteY17" fmla="*/ 994414 h 2194223"/>
                  <a:gd name="connsiteX18" fmla="*/ 2377339 w 2377338"/>
                  <a:gd name="connsiteY18" fmla="*/ 1100142 h 2194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77338" h="2194223">
                    <a:moveTo>
                      <a:pt x="2377339" y="1100142"/>
                    </a:moveTo>
                    <a:cubicBezTo>
                      <a:pt x="2373529" y="1314454"/>
                      <a:pt x="2286852" y="1486857"/>
                      <a:pt x="2123022" y="1624969"/>
                    </a:cubicBezTo>
                    <a:cubicBezTo>
                      <a:pt x="2001101" y="1728792"/>
                      <a:pt x="1861084" y="1770702"/>
                      <a:pt x="1704874" y="1771654"/>
                    </a:cubicBezTo>
                    <a:cubicBezTo>
                      <a:pt x="1681061" y="1771654"/>
                      <a:pt x="1673442" y="1779274"/>
                      <a:pt x="1668679" y="1800229"/>
                    </a:cubicBezTo>
                    <a:cubicBezTo>
                      <a:pt x="1622007" y="2002159"/>
                      <a:pt x="1498182" y="2133604"/>
                      <a:pt x="1296251" y="2181229"/>
                    </a:cubicBezTo>
                    <a:cubicBezTo>
                      <a:pt x="1026694" y="2244094"/>
                      <a:pt x="764757" y="2072644"/>
                      <a:pt x="709512" y="1801182"/>
                    </a:cubicBezTo>
                    <a:cubicBezTo>
                      <a:pt x="703796" y="1774512"/>
                      <a:pt x="695224" y="1771654"/>
                      <a:pt x="671412" y="1771654"/>
                    </a:cubicBezTo>
                    <a:cubicBezTo>
                      <a:pt x="542824" y="1774512"/>
                      <a:pt x="419951" y="1745937"/>
                      <a:pt x="314224" y="1671642"/>
                    </a:cubicBezTo>
                    <a:cubicBezTo>
                      <a:pt x="102769" y="1523052"/>
                      <a:pt x="-16293" y="1320169"/>
                      <a:pt x="1804" y="1055374"/>
                    </a:cubicBezTo>
                    <a:cubicBezTo>
                      <a:pt x="20854" y="784864"/>
                      <a:pt x="162776" y="597222"/>
                      <a:pt x="406616" y="480064"/>
                    </a:cubicBezTo>
                    <a:cubicBezTo>
                      <a:pt x="492341" y="439107"/>
                      <a:pt x="579971" y="421962"/>
                      <a:pt x="673316" y="424819"/>
                    </a:cubicBezTo>
                    <a:cubicBezTo>
                      <a:pt x="695224" y="425772"/>
                      <a:pt x="702844" y="421009"/>
                      <a:pt x="707607" y="396244"/>
                    </a:cubicBezTo>
                    <a:cubicBezTo>
                      <a:pt x="751421" y="168597"/>
                      <a:pt x="953351" y="1909"/>
                      <a:pt x="1183857" y="4"/>
                    </a:cubicBezTo>
                    <a:cubicBezTo>
                      <a:pt x="1418172" y="-948"/>
                      <a:pt x="1620101" y="160977"/>
                      <a:pt x="1667726" y="391482"/>
                    </a:cubicBezTo>
                    <a:cubicBezTo>
                      <a:pt x="1673442" y="417199"/>
                      <a:pt x="1682014" y="426724"/>
                      <a:pt x="1707732" y="424819"/>
                    </a:cubicBezTo>
                    <a:cubicBezTo>
                      <a:pt x="1772501" y="420057"/>
                      <a:pt x="1837272" y="425772"/>
                      <a:pt x="1897279" y="449584"/>
                    </a:cubicBezTo>
                    <a:cubicBezTo>
                      <a:pt x="2022057" y="498162"/>
                      <a:pt x="2136357" y="562932"/>
                      <a:pt x="2223034" y="669612"/>
                    </a:cubicBezTo>
                    <a:cubicBezTo>
                      <a:pt x="2301139" y="764862"/>
                      <a:pt x="2350669" y="872494"/>
                      <a:pt x="2368767" y="994414"/>
                    </a:cubicBezTo>
                    <a:cubicBezTo>
                      <a:pt x="2375434" y="1028704"/>
                      <a:pt x="2376386" y="1063947"/>
                      <a:pt x="2377339" y="1100142"/>
                    </a:cubicBezTo>
                    <a:close/>
                  </a:path>
                </a:pathLst>
              </a:custGeom>
              <a:solidFill>
                <a:srgbClr val="FAFD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任意多边形: 形状 165"/>
              <p:cNvSpPr/>
              <p:nvPr/>
            </p:nvSpPr>
            <p:spPr>
              <a:xfrm>
                <a:off x="7359049" y="1971242"/>
                <a:ext cx="66386" cy="61019"/>
              </a:xfrm>
              <a:custGeom>
                <a:avLst/>
                <a:gdLst>
                  <a:gd name="connsiteX0" fmla="*/ 16193 w 66386"/>
                  <a:gd name="connsiteY0" fmla="*/ 61019 h 61019"/>
                  <a:gd name="connsiteX1" fmla="*/ 0 w 66386"/>
                  <a:gd name="connsiteY1" fmla="*/ 50542 h 61019"/>
                  <a:gd name="connsiteX2" fmla="*/ 51435 w 66386"/>
                  <a:gd name="connsiteY2" fmla="*/ 59 h 61019"/>
                  <a:gd name="connsiteX3" fmla="*/ 65723 w 66386"/>
                  <a:gd name="connsiteY3" fmla="*/ 20062 h 61019"/>
                  <a:gd name="connsiteX4" fmla="*/ 16193 w 66386"/>
                  <a:gd name="connsiteY4" fmla="*/ 61019 h 61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386" h="61019">
                    <a:moveTo>
                      <a:pt x="16193" y="61019"/>
                    </a:moveTo>
                    <a:cubicBezTo>
                      <a:pt x="10478" y="60067"/>
                      <a:pt x="953" y="61972"/>
                      <a:pt x="0" y="50542"/>
                    </a:cubicBezTo>
                    <a:cubicBezTo>
                      <a:pt x="0" y="42922"/>
                      <a:pt x="44768" y="-1846"/>
                      <a:pt x="51435" y="59"/>
                    </a:cubicBezTo>
                    <a:cubicBezTo>
                      <a:pt x="61913" y="1964"/>
                      <a:pt x="68580" y="9584"/>
                      <a:pt x="65723" y="20062"/>
                    </a:cubicBezTo>
                    <a:cubicBezTo>
                      <a:pt x="61913" y="45779"/>
                      <a:pt x="44768" y="59114"/>
                      <a:pt x="16193" y="61019"/>
                    </a:cubicBezTo>
                    <a:close/>
                  </a:path>
                </a:pathLst>
              </a:custGeom>
              <a:solidFill>
                <a:srgbClr val="E4F3E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任意多边形: 形状 166"/>
              <p:cNvSpPr/>
              <p:nvPr/>
            </p:nvSpPr>
            <p:spPr>
              <a:xfrm>
                <a:off x="7275489" y="2075986"/>
                <a:ext cx="72796" cy="47604"/>
              </a:xfrm>
              <a:custGeom>
                <a:avLst/>
                <a:gdLst>
                  <a:gd name="connsiteX0" fmla="*/ 27363 w 72796"/>
                  <a:gd name="connsiteY0" fmla="*/ 46763 h 47604"/>
                  <a:gd name="connsiteX1" fmla="*/ 693 w 72796"/>
                  <a:gd name="connsiteY1" fmla="*/ 34380 h 47604"/>
                  <a:gd name="connsiteX2" fmla="*/ 52128 w 72796"/>
                  <a:gd name="connsiteY2" fmla="*/ 90 h 47604"/>
                  <a:gd name="connsiteX3" fmla="*/ 72131 w 72796"/>
                  <a:gd name="connsiteY3" fmla="*/ 17235 h 47604"/>
                  <a:gd name="connsiteX4" fmla="*/ 27363 w 72796"/>
                  <a:gd name="connsiteY4" fmla="*/ 46763 h 47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2796" h="47604">
                    <a:moveTo>
                      <a:pt x="27363" y="46763"/>
                    </a:moveTo>
                    <a:cubicBezTo>
                      <a:pt x="16886" y="44857"/>
                      <a:pt x="-4069" y="46763"/>
                      <a:pt x="693" y="34380"/>
                    </a:cubicBezTo>
                    <a:cubicBezTo>
                      <a:pt x="8313" y="14377"/>
                      <a:pt x="29268" y="1995"/>
                      <a:pt x="52128" y="90"/>
                    </a:cubicBezTo>
                    <a:cubicBezTo>
                      <a:pt x="62606" y="-862"/>
                      <a:pt x="75941" y="5805"/>
                      <a:pt x="72131" y="17235"/>
                    </a:cubicBezTo>
                    <a:cubicBezTo>
                      <a:pt x="65463" y="35332"/>
                      <a:pt x="52128" y="51525"/>
                      <a:pt x="27363" y="46763"/>
                    </a:cubicBezTo>
                    <a:close/>
                  </a:path>
                </a:pathLst>
              </a:custGeom>
              <a:solidFill>
                <a:srgbClr val="EEFA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任意多边形: 形状 167"/>
              <p:cNvSpPr/>
              <p:nvPr/>
            </p:nvSpPr>
            <p:spPr>
              <a:xfrm>
                <a:off x="7468587" y="2124587"/>
                <a:ext cx="39052" cy="40815"/>
              </a:xfrm>
              <a:custGeom>
                <a:avLst/>
                <a:gdLst>
                  <a:gd name="connsiteX0" fmla="*/ 39053 w 39052"/>
                  <a:gd name="connsiteY0" fmla="*/ 28642 h 40815"/>
                  <a:gd name="connsiteX1" fmla="*/ 26670 w 39052"/>
                  <a:gd name="connsiteY1" fmla="*/ 40072 h 40815"/>
                  <a:gd name="connsiteX2" fmla="*/ 0 w 39052"/>
                  <a:gd name="connsiteY2" fmla="*/ 11497 h 40815"/>
                  <a:gd name="connsiteX3" fmla="*/ 11430 w 39052"/>
                  <a:gd name="connsiteY3" fmla="*/ 1019 h 40815"/>
                  <a:gd name="connsiteX4" fmla="*/ 39053 w 39052"/>
                  <a:gd name="connsiteY4" fmla="*/ 28642 h 40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052" h="40815">
                    <a:moveTo>
                      <a:pt x="39053" y="28642"/>
                    </a:moveTo>
                    <a:cubicBezTo>
                      <a:pt x="38100" y="37214"/>
                      <a:pt x="32385" y="42929"/>
                      <a:pt x="26670" y="40072"/>
                    </a:cubicBezTo>
                    <a:cubicBezTo>
                      <a:pt x="14288" y="34357"/>
                      <a:pt x="953" y="27689"/>
                      <a:pt x="0" y="11497"/>
                    </a:cubicBezTo>
                    <a:cubicBezTo>
                      <a:pt x="0" y="4829"/>
                      <a:pt x="3810" y="-2791"/>
                      <a:pt x="11430" y="1019"/>
                    </a:cubicBezTo>
                    <a:cubicBezTo>
                      <a:pt x="24765" y="6734"/>
                      <a:pt x="34290" y="16259"/>
                      <a:pt x="39053" y="28642"/>
                    </a:cubicBezTo>
                    <a:close/>
                  </a:path>
                </a:pathLst>
              </a:custGeom>
              <a:solidFill>
                <a:srgbClr val="E7F9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任意多边形: 形状 168"/>
              <p:cNvSpPr/>
              <p:nvPr/>
            </p:nvSpPr>
            <p:spPr>
              <a:xfrm>
                <a:off x="4842254" y="1950253"/>
                <a:ext cx="80300" cy="114258"/>
              </a:xfrm>
              <a:custGeom>
                <a:avLst/>
                <a:gdLst>
                  <a:gd name="connsiteX0" fmla="*/ 80300 w 80300"/>
                  <a:gd name="connsiteY0" fmla="*/ 68673 h 114258"/>
                  <a:gd name="connsiteX1" fmla="*/ 62203 w 80300"/>
                  <a:gd name="connsiteY1" fmla="*/ 113440 h 114258"/>
                  <a:gd name="connsiteX2" fmla="*/ 28865 w 80300"/>
                  <a:gd name="connsiteY2" fmla="*/ 90580 h 114258"/>
                  <a:gd name="connsiteX3" fmla="*/ 2195 w 80300"/>
                  <a:gd name="connsiteY3" fmla="*/ 40098 h 114258"/>
                  <a:gd name="connsiteX4" fmla="*/ 44105 w 80300"/>
                  <a:gd name="connsiteY4" fmla="*/ 1045 h 114258"/>
                  <a:gd name="connsiteX5" fmla="*/ 80300 w 80300"/>
                  <a:gd name="connsiteY5" fmla="*/ 68673 h 114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0300" h="114258">
                    <a:moveTo>
                      <a:pt x="80300" y="68673"/>
                    </a:moveTo>
                    <a:cubicBezTo>
                      <a:pt x="76490" y="84865"/>
                      <a:pt x="80300" y="106773"/>
                      <a:pt x="62203" y="113440"/>
                    </a:cubicBezTo>
                    <a:cubicBezTo>
                      <a:pt x="47915" y="118203"/>
                      <a:pt x="37438" y="101058"/>
                      <a:pt x="28865" y="90580"/>
                    </a:cubicBezTo>
                    <a:cubicBezTo>
                      <a:pt x="16483" y="76293"/>
                      <a:pt x="-7330" y="64863"/>
                      <a:pt x="2195" y="40098"/>
                    </a:cubicBezTo>
                    <a:cubicBezTo>
                      <a:pt x="9815" y="21048"/>
                      <a:pt x="20292" y="-5622"/>
                      <a:pt x="44105" y="1045"/>
                    </a:cubicBezTo>
                    <a:cubicBezTo>
                      <a:pt x="73633" y="8665"/>
                      <a:pt x="74585" y="42003"/>
                      <a:pt x="80300" y="68673"/>
                    </a:cubicBezTo>
                    <a:close/>
                  </a:path>
                </a:pathLst>
              </a:custGeom>
              <a:solidFill>
                <a:srgbClr val="F6FCF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任意多边形: 形状 169"/>
              <p:cNvSpPr/>
              <p:nvPr/>
            </p:nvSpPr>
            <p:spPr>
              <a:xfrm>
                <a:off x="4753962" y="2135793"/>
                <a:ext cx="91439" cy="104387"/>
              </a:xfrm>
              <a:custGeom>
                <a:avLst/>
                <a:gdLst>
                  <a:gd name="connsiteX0" fmla="*/ 91440 w 91439"/>
                  <a:gd name="connsiteY0" fmla="*/ 61250 h 104387"/>
                  <a:gd name="connsiteX1" fmla="*/ 55245 w 91439"/>
                  <a:gd name="connsiteY1" fmla="*/ 104113 h 104387"/>
                  <a:gd name="connsiteX2" fmla="*/ 0 w 91439"/>
                  <a:gd name="connsiteY2" fmla="*/ 69823 h 104387"/>
                  <a:gd name="connsiteX3" fmla="*/ 36195 w 91439"/>
                  <a:gd name="connsiteY3" fmla="*/ 290 h 104387"/>
                  <a:gd name="connsiteX4" fmla="*/ 91440 w 91439"/>
                  <a:gd name="connsiteY4" fmla="*/ 61250 h 104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439" h="104387">
                    <a:moveTo>
                      <a:pt x="91440" y="61250"/>
                    </a:moveTo>
                    <a:cubicBezTo>
                      <a:pt x="85725" y="81253"/>
                      <a:pt x="76200" y="102208"/>
                      <a:pt x="55245" y="104113"/>
                    </a:cubicBezTo>
                    <a:cubicBezTo>
                      <a:pt x="30480" y="106970"/>
                      <a:pt x="0" y="86968"/>
                      <a:pt x="0" y="69823"/>
                    </a:cubicBezTo>
                    <a:cubicBezTo>
                      <a:pt x="0" y="46963"/>
                      <a:pt x="20955" y="22198"/>
                      <a:pt x="36195" y="290"/>
                    </a:cubicBezTo>
                    <a:cubicBezTo>
                      <a:pt x="40005" y="-4472"/>
                      <a:pt x="91440" y="50773"/>
                      <a:pt x="91440" y="61250"/>
                    </a:cubicBezTo>
                    <a:close/>
                  </a:path>
                </a:pathLst>
              </a:custGeom>
              <a:solidFill>
                <a:srgbClr val="F5FBF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任意多边形: 形状 170"/>
              <p:cNvSpPr/>
              <p:nvPr/>
            </p:nvSpPr>
            <p:spPr>
              <a:xfrm>
                <a:off x="7637195" y="4125216"/>
                <a:ext cx="178641" cy="148018"/>
              </a:xfrm>
              <a:custGeom>
                <a:avLst/>
                <a:gdLst>
                  <a:gd name="connsiteX0" fmla="*/ 178102 w 178641"/>
                  <a:gd name="connsiteY0" fmla="*/ 84460 h 148018"/>
                  <a:gd name="connsiteX1" fmla="*/ 172387 w 178641"/>
                  <a:gd name="connsiteY1" fmla="*/ 107320 h 148018"/>
                  <a:gd name="connsiteX2" fmla="*/ 113331 w 178641"/>
                  <a:gd name="connsiteY2" fmla="*/ 136848 h 148018"/>
                  <a:gd name="connsiteX3" fmla="*/ 16177 w 178641"/>
                  <a:gd name="connsiteY3" fmla="*/ 98748 h 148018"/>
                  <a:gd name="connsiteX4" fmla="*/ 3794 w 178641"/>
                  <a:gd name="connsiteY4" fmla="*/ 67315 h 148018"/>
                  <a:gd name="connsiteX5" fmla="*/ 154289 w 178641"/>
                  <a:gd name="connsiteY5" fmla="*/ 30167 h 148018"/>
                  <a:gd name="connsiteX6" fmla="*/ 178102 w 178641"/>
                  <a:gd name="connsiteY6" fmla="*/ 84460 h 1480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8641" h="148018">
                    <a:moveTo>
                      <a:pt x="178102" y="84460"/>
                    </a:moveTo>
                    <a:cubicBezTo>
                      <a:pt x="176197" y="92080"/>
                      <a:pt x="174291" y="99700"/>
                      <a:pt x="172387" y="107320"/>
                    </a:cubicBezTo>
                    <a:cubicBezTo>
                      <a:pt x="159052" y="154945"/>
                      <a:pt x="159052" y="154945"/>
                      <a:pt x="113331" y="136848"/>
                    </a:cubicBezTo>
                    <a:cubicBezTo>
                      <a:pt x="80947" y="123512"/>
                      <a:pt x="48562" y="110177"/>
                      <a:pt x="16177" y="98748"/>
                    </a:cubicBezTo>
                    <a:cubicBezTo>
                      <a:pt x="-1921" y="92080"/>
                      <a:pt x="-2873" y="84460"/>
                      <a:pt x="3794" y="67315"/>
                    </a:cubicBezTo>
                    <a:cubicBezTo>
                      <a:pt x="35227" y="-16505"/>
                      <a:pt x="93329" y="-13648"/>
                      <a:pt x="154289" y="30167"/>
                    </a:cubicBezTo>
                    <a:cubicBezTo>
                      <a:pt x="172387" y="41598"/>
                      <a:pt x="180959" y="61600"/>
                      <a:pt x="178102" y="84460"/>
                    </a:cubicBezTo>
                    <a:close/>
                  </a:path>
                </a:pathLst>
              </a:custGeom>
              <a:solidFill>
                <a:srgbClr val="FBFD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任意多边形: 形状 171"/>
              <p:cNvSpPr/>
              <p:nvPr/>
            </p:nvSpPr>
            <p:spPr>
              <a:xfrm>
                <a:off x="4459820" y="4395414"/>
                <a:ext cx="137932" cy="125729"/>
              </a:xfrm>
              <a:custGeom>
                <a:avLst/>
                <a:gdLst>
                  <a:gd name="connsiteX0" fmla="*/ 137932 w 137932"/>
                  <a:gd name="connsiteY0" fmla="*/ 0 h 125729"/>
                  <a:gd name="connsiteX1" fmla="*/ 54112 w 137932"/>
                  <a:gd name="connsiteY1" fmla="*/ 125730 h 125729"/>
                  <a:gd name="connsiteX2" fmla="*/ 772 w 137932"/>
                  <a:gd name="connsiteY2" fmla="*/ 32385 h 125729"/>
                  <a:gd name="connsiteX3" fmla="*/ 93165 w 137932"/>
                  <a:gd name="connsiteY3" fmla="*/ 7620 h 125729"/>
                  <a:gd name="connsiteX4" fmla="*/ 137932 w 137932"/>
                  <a:gd name="connsiteY4" fmla="*/ 0 h 1257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7932" h="125729">
                    <a:moveTo>
                      <a:pt x="137932" y="0"/>
                    </a:moveTo>
                    <a:cubicBezTo>
                      <a:pt x="106500" y="46672"/>
                      <a:pt x="81735" y="83820"/>
                      <a:pt x="54112" y="125730"/>
                    </a:cubicBezTo>
                    <a:cubicBezTo>
                      <a:pt x="32205" y="90488"/>
                      <a:pt x="-5895" y="55245"/>
                      <a:pt x="772" y="32385"/>
                    </a:cubicBezTo>
                    <a:cubicBezTo>
                      <a:pt x="9345" y="2857"/>
                      <a:pt x="60780" y="16192"/>
                      <a:pt x="93165" y="7620"/>
                    </a:cubicBezTo>
                    <a:cubicBezTo>
                      <a:pt x="103642" y="4763"/>
                      <a:pt x="114120" y="3810"/>
                      <a:pt x="137932" y="0"/>
                    </a:cubicBezTo>
                    <a:close/>
                  </a:path>
                </a:pathLst>
              </a:custGeom>
              <a:solidFill>
                <a:srgbClr val="F6FCF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任意多边形: 形状 172"/>
              <p:cNvSpPr/>
              <p:nvPr/>
            </p:nvSpPr>
            <p:spPr>
              <a:xfrm>
                <a:off x="4970180" y="2475902"/>
                <a:ext cx="2261070" cy="2088305"/>
              </a:xfrm>
              <a:custGeom>
                <a:avLst/>
                <a:gdLst>
                  <a:gd name="connsiteX0" fmla="*/ 0 w 2261070"/>
                  <a:gd name="connsiteY0" fmla="*/ 1039401 h 2088305"/>
                  <a:gd name="connsiteX1" fmla="*/ 486728 w 2261070"/>
                  <a:gd name="connsiteY1" fmla="*/ 446946 h 2088305"/>
                  <a:gd name="connsiteX2" fmla="*/ 666750 w 2261070"/>
                  <a:gd name="connsiteY2" fmla="*/ 435516 h 2088305"/>
                  <a:gd name="connsiteX3" fmla="*/ 696278 w 2261070"/>
                  <a:gd name="connsiteY3" fmla="*/ 406941 h 2088305"/>
                  <a:gd name="connsiteX4" fmla="*/ 1070610 w 2261070"/>
                  <a:gd name="connsiteY4" fmla="*/ 4034 h 2088305"/>
                  <a:gd name="connsiteX5" fmla="*/ 1545907 w 2261070"/>
                  <a:gd name="connsiteY5" fmla="*/ 302166 h 2088305"/>
                  <a:gd name="connsiteX6" fmla="*/ 1563053 w 2261070"/>
                  <a:gd name="connsiteY6" fmla="*/ 385986 h 2088305"/>
                  <a:gd name="connsiteX7" fmla="*/ 1621155 w 2261070"/>
                  <a:gd name="connsiteY7" fmla="*/ 436469 h 2088305"/>
                  <a:gd name="connsiteX8" fmla="*/ 1976438 w 2261070"/>
                  <a:gd name="connsiteY8" fmla="*/ 527909 h 2088305"/>
                  <a:gd name="connsiteX9" fmla="*/ 1961198 w 2261070"/>
                  <a:gd name="connsiteY9" fmla="*/ 1572801 h 2088305"/>
                  <a:gd name="connsiteX10" fmla="*/ 1604010 w 2261070"/>
                  <a:gd name="connsiteY10" fmla="*/ 1661384 h 2088305"/>
                  <a:gd name="connsiteX11" fmla="*/ 1564005 w 2261070"/>
                  <a:gd name="connsiteY11" fmla="*/ 1697579 h 2088305"/>
                  <a:gd name="connsiteX12" fmla="*/ 1107757 w 2261070"/>
                  <a:gd name="connsiteY12" fmla="*/ 2088104 h 2088305"/>
                  <a:gd name="connsiteX13" fmla="*/ 697230 w 2261070"/>
                  <a:gd name="connsiteY13" fmla="*/ 1695674 h 2088305"/>
                  <a:gd name="connsiteX14" fmla="*/ 657225 w 2261070"/>
                  <a:gd name="connsiteY14" fmla="*/ 1661384 h 2088305"/>
                  <a:gd name="connsiteX15" fmla="*/ 381000 w 2261070"/>
                  <a:gd name="connsiteY15" fmla="*/ 1616616 h 2088305"/>
                  <a:gd name="connsiteX16" fmla="*/ 0 w 2261070"/>
                  <a:gd name="connsiteY16" fmla="*/ 1039401 h 2088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61070" h="2088305">
                    <a:moveTo>
                      <a:pt x="0" y="1039401"/>
                    </a:moveTo>
                    <a:cubicBezTo>
                      <a:pt x="9525" y="738411"/>
                      <a:pt x="196215" y="510764"/>
                      <a:pt x="486728" y="446946"/>
                    </a:cubicBezTo>
                    <a:cubicBezTo>
                      <a:pt x="545783" y="433611"/>
                      <a:pt x="606743" y="433611"/>
                      <a:pt x="666750" y="435516"/>
                    </a:cubicBezTo>
                    <a:cubicBezTo>
                      <a:pt x="688658" y="436469"/>
                      <a:pt x="695325" y="428849"/>
                      <a:pt x="696278" y="406941"/>
                    </a:cubicBezTo>
                    <a:cubicBezTo>
                      <a:pt x="708660" y="200249"/>
                      <a:pt x="866775" y="31656"/>
                      <a:pt x="1070610" y="4034"/>
                    </a:cubicBezTo>
                    <a:cubicBezTo>
                      <a:pt x="1279207" y="-24541"/>
                      <a:pt x="1480185" y="101189"/>
                      <a:pt x="1545907" y="302166"/>
                    </a:cubicBezTo>
                    <a:cubicBezTo>
                      <a:pt x="1554480" y="329789"/>
                      <a:pt x="1564957" y="357411"/>
                      <a:pt x="1563053" y="385986"/>
                    </a:cubicBezTo>
                    <a:cubicBezTo>
                      <a:pt x="1560195" y="429801"/>
                      <a:pt x="1581150" y="439326"/>
                      <a:pt x="1621155" y="436469"/>
                    </a:cubicBezTo>
                    <a:cubicBezTo>
                      <a:pt x="1748790" y="429801"/>
                      <a:pt x="1866900" y="460281"/>
                      <a:pt x="1976438" y="527909"/>
                    </a:cubicBezTo>
                    <a:cubicBezTo>
                      <a:pt x="2363153" y="767939"/>
                      <a:pt x="2353628" y="1333724"/>
                      <a:pt x="1961198" y="1572801"/>
                    </a:cubicBezTo>
                    <a:cubicBezTo>
                      <a:pt x="1848803" y="1641381"/>
                      <a:pt x="1730693" y="1664241"/>
                      <a:pt x="1604010" y="1661384"/>
                    </a:cubicBezTo>
                    <a:cubicBezTo>
                      <a:pt x="1574482" y="1660431"/>
                      <a:pt x="1566863" y="1670909"/>
                      <a:pt x="1564005" y="1697579"/>
                    </a:cubicBezTo>
                    <a:cubicBezTo>
                      <a:pt x="1533525" y="1935704"/>
                      <a:pt x="1347788" y="2094771"/>
                      <a:pt x="1107757" y="2088104"/>
                    </a:cubicBezTo>
                    <a:cubicBezTo>
                      <a:pt x="900113" y="2082389"/>
                      <a:pt x="710565" y="1903319"/>
                      <a:pt x="697230" y="1695674"/>
                    </a:cubicBezTo>
                    <a:cubicBezTo>
                      <a:pt x="695325" y="1663289"/>
                      <a:pt x="682943" y="1660431"/>
                      <a:pt x="657225" y="1661384"/>
                    </a:cubicBezTo>
                    <a:cubicBezTo>
                      <a:pt x="561975" y="1665194"/>
                      <a:pt x="467678" y="1657574"/>
                      <a:pt x="381000" y="1616616"/>
                    </a:cubicBezTo>
                    <a:cubicBezTo>
                      <a:pt x="169545" y="1514699"/>
                      <a:pt x="0" y="1330866"/>
                      <a:pt x="0" y="1039401"/>
                    </a:cubicBezTo>
                    <a:close/>
                  </a:path>
                </a:pathLst>
              </a:custGeom>
              <a:solidFill>
                <a:srgbClr val="0058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任意多边形: 形状 173"/>
              <p:cNvSpPr/>
              <p:nvPr/>
            </p:nvSpPr>
            <p:spPr>
              <a:xfrm>
                <a:off x="5052095" y="2513071"/>
                <a:ext cx="2089784" cy="1711845"/>
              </a:xfrm>
              <a:custGeom>
                <a:avLst/>
                <a:gdLst>
                  <a:gd name="connsiteX0" fmla="*/ 946785 w 2089784"/>
                  <a:gd name="connsiteY0" fmla="*/ 1411808 h 1711845"/>
                  <a:gd name="connsiteX1" fmla="*/ 944880 w 2089784"/>
                  <a:gd name="connsiteY1" fmla="*/ 1404188 h 1711845"/>
                  <a:gd name="connsiteX2" fmla="*/ 937260 w 2089784"/>
                  <a:gd name="connsiteY2" fmla="*/ 1323225 h 1711845"/>
                  <a:gd name="connsiteX3" fmla="*/ 828675 w 2089784"/>
                  <a:gd name="connsiteY3" fmla="*/ 1318463 h 1711845"/>
                  <a:gd name="connsiteX4" fmla="*/ 815340 w 2089784"/>
                  <a:gd name="connsiteY4" fmla="*/ 1328940 h 1711845"/>
                  <a:gd name="connsiteX5" fmla="*/ 827722 w 2089784"/>
                  <a:gd name="connsiteY5" fmla="*/ 1345133 h 1711845"/>
                  <a:gd name="connsiteX6" fmla="*/ 849630 w 2089784"/>
                  <a:gd name="connsiteY6" fmla="*/ 1376565 h 1711845"/>
                  <a:gd name="connsiteX7" fmla="*/ 849630 w 2089784"/>
                  <a:gd name="connsiteY7" fmla="*/ 1671840 h 1711845"/>
                  <a:gd name="connsiteX8" fmla="*/ 819150 w 2089784"/>
                  <a:gd name="connsiteY8" fmla="*/ 1711845 h 1711845"/>
                  <a:gd name="connsiteX9" fmla="*/ 786765 w 2089784"/>
                  <a:gd name="connsiteY9" fmla="*/ 1672793 h 1711845"/>
                  <a:gd name="connsiteX10" fmla="*/ 787718 w 2089784"/>
                  <a:gd name="connsiteY10" fmla="*/ 1318463 h 1711845"/>
                  <a:gd name="connsiteX11" fmla="*/ 687705 w 2089784"/>
                  <a:gd name="connsiteY11" fmla="*/ 1145108 h 1711845"/>
                  <a:gd name="connsiteX12" fmla="*/ 845820 w 2089784"/>
                  <a:gd name="connsiteY12" fmla="*/ 1145108 h 1711845"/>
                  <a:gd name="connsiteX13" fmla="*/ 873443 w 2089784"/>
                  <a:gd name="connsiteY13" fmla="*/ 1125105 h 1711845"/>
                  <a:gd name="connsiteX14" fmla="*/ 843915 w 2089784"/>
                  <a:gd name="connsiteY14" fmla="*/ 1106055 h 1711845"/>
                  <a:gd name="connsiteX15" fmla="*/ 391477 w 2089784"/>
                  <a:gd name="connsiteY15" fmla="*/ 1106055 h 1711845"/>
                  <a:gd name="connsiteX16" fmla="*/ 360045 w 2089784"/>
                  <a:gd name="connsiteY16" fmla="*/ 1093673 h 1711845"/>
                  <a:gd name="connsiteX17" fmla="*/ 389572 w 2089784"/>
                  <a:gd name="connsiteY17" fmla="*/ 1067955 h 1711845"/>
                  <a:gd name="connsiteX18" fmla="*/ 838200 w 2089784"/>
                  <a:gd name="connsiteY18" fmla="*/ 1067955 h 1711845"/>
                  <a:gd name="connsiteX19" fmla="*/ 871538 w 2089784"/>
                  <a:gd name="connsiteY19" fmla="*/ 1058430 h 1711845"/>
                  <a:gd name="connsiteX20" fmla="*/ 845820 w 2089784"/>
                  <a:gd name="connsiteY20" fmla="*/ 1027950 h 1711845"/>
                  <a:gd name="connsiteX21" fmla="*/ 613410 w 2089784"/>
                  <a:gd name="connsiteY21" fmla="*/ 1028903 h 1711845"/>
                  <a:gd name="connsiteX22" fmla="*/ 377190 w 2089784"/>
                  <a:gd name="connsiteY22" fmla="*/ 1028903 h 1711845"/>
                  <a:gd name="connsiteX23" fmla="*/ 343852 w 2089784"/>
                  <a:gd name="connsiteY23" fmla="*/ 1010805 h 1711845"/>
                  <a:gd name="connsiteX24" fmla="*/ 0 w 2089784"/>
                  <a:gd name="connsiteY24" fmla="*/ 798398 h 1711845"/>
                  <a:gd name="connsiteX25" fmla="*/ 99060 w 2089784"/>
                  <a:gd name="connsiteY25" fmla="*/ 632663 h 1711845"/>
                  <a:gd name="connsiteX26" fmla="*/ 526732 w 2089784"/>
                  <a:gd name="connsiteY26" fmla="*/ 442163 h 1711845"/>
                  <a:gd name="connsiteX27" fmla="*/ 634365 w 2089784"/>
                  <a:gd name="connsiteY27" fmla="*/ 436448 h 1711845"/>
                  <a:gd name="connsiteX28" fmla="*/ 650557 w 2089784"/>
                  <a:gd name="connsiteY28" fmla="*/ 333578 h 1711845"/>
                  <a:gd name="connsiteX29" fmla="*/ 1068705 w 2089784"/>
                  <a:gd name="connsiteY29" fmla="*/ 1155 h 1711845"/>
                  <a:gd name="connsiteX30" fmla="*/ 1444942 w 2089784"/>
                  <a:gd name="connsiteY30" fmla="*/ 406920 h 1711845"/>
                  <a:gd name="connsiteX31" fmla="*/ 1483042 w 2089784"/>
                  <a:gd name="connsiteY31" fmla="*/ 442163 h 1711845"/>
                  <a:gd name="connsiteX32" fmla="*/ 1780223 w 2089784"/>
                  <a:gd name="connsiteY32" fmla="*/ 481215 h 1711845"/>
                  <a:gd name="connsiteX33" fmla="*/ 2074545 w 2089784"/>
                  <a:gd name="connsiteY33" fmla="*/ 751725 h 1711845"/>
                  <a:gd name="connsiteX34" fmla="*/ 2088832 w 2089784"/>
                  <a:gd name="connsiteY34" fmla="*/ 784110 h 1711845"/>
                  <a:gd name="connsiteX35" fmla="*/ 2089785 w 2089784"/>
                  <a:gd name="connsiteY35" fmla="*/ 797445 h 1711845"/>
                  <a:gd name="connsiteX36" fmla="*/ 1920240 w 2089784"/>
                  <a:gd name="connsiteY36" fmla="*/ 815543 h 1711845"/>
                  <a:gd name="connsiteX37" fmla="*/ 1756410 w 2089784"/>
                  <a:gd name="connsiteY37" fmla="*/ 984135 h 1711845"/>
                  <a:gd name="connsiteX38" fmla="*/ 1692592 w 2089784"/>
                  <a:gd name="connsiteY38" fmla="*/ 1026998 h 1711845"/>
                  <a:gd name="connsiteX39" fmla="*/ 1251585 w 2089784"/>
                  <a:gd name="connsiteY39" fmla="*/ 1026045 h 1711845"/>
                  <a:gd name="connsiteX40" fmla="*/ 1217295 w 2089784"/>
                  <a:gd name="connsiteY40" fmla="*/ 1047953 h 1711845"/>
                  <a:gd name="connsiteX41" fmla="*/ 1251585 w 2089784"/>
                  <a:gd name="connsiteY41" fmla="*/ 1065098 h 1711845"/>
                  <a:gd name="connsiteX42" fmla="*/ 1692592 w 2089784"/>
                  <a:gd name="connsiteY42" fmla="*/ 1066050 h 1711845"/>
                  <a:gd name="connsiteX43" fmla="*/ 1729740 w 2089784"/>
                  <a:gd name="connsiteY43" fmla="*/ 1083195 h 1711845"/>
                  <a:gd name="connsiteX44" fmla="*/ 1693545 w 2089784"/>
                  <a:gd name="connsiteY44" fmla="*/ 1103198 h 1711845"/>
                  <a:gd name="connsiteX45" fmla="*/ 1248728 w 2089784"/>
                  <a:gd name="connsiteY45" fmla="*/ 1104150 h 1711845"/>
                  <a:gd name="connsiteX46" fmla="*/ 1217295 w 2089784"/>
                  <a:gd name="connsiteY46" fmla="*/ 1116533 h 1711845"/>
                  <a:gd name="connsiteX47" fmla="*/ 1241107 w 2089784"/>
                  <a:gd name="connsiteY47" fmla="*/ 1145108 h 1711845"/>
                  <a:gd name="connsiteX48" fmla="*/ 1402080 w 2089784"/>
                  <a:gd name="connsiteY48" fmla="*/ 1147013 h 1711845"/>
                  <a:gd name="connsiteX49" fmla="*/ 1301115 w 2089784"/>
                  <a:gd name="connsiteY49" fmla="*/ 1327988 h 1711845"/>
                  <a:gd name="connsiteX50" fmla="*/ 1302067 w 2089784"/>
                  <a:gd name="connsiteY50" fmla="*/ 1674698 h 1711845"/>
                  <a:gd name="connsiteX51" fmla="*/ 1271588 w 2089784"/>
                  <a:gd name="connsiteY51" fmla="*/ 1711845 h 1711845"/>
                  <a:gd name="connsiteX52" fmla="*/ 1240155 w 2089784"/>
                  <a:gd name="connsiteY52" fmla="*/ 1675650 h 1711845"/>
                  <a:gd name="connsiteX53" fmla="*/ 1240155 w 2089784"/>
                  <a:gd name="connsiteY53" fmla="*/ 1380375 h 1711845"/>
                  <a:gd name="connsiteX54" fmla="*/ 1266825 w 2089784"/>
                  <a:gd name="connsiteY54" fmla="*/ 1345133 h 1711845"/>
                  <a:gd name="connsiteX55" fmla="*/ 1278255 w 2089784"/>
                  <a:gd name="connsiteY55" fmla="*/ 1327988 h 1711845"/>
                  <a:gd name="connsiteX56" fmla="*/ 1261110 w 2089784"/>
                  <a:gd name="connsiteY56" fmla="*/ 1318463 h 1711845"/>
                  <a:gd name="connsiteX57" fmla="*/ 1229678 w 2089784"/>
                  <a:gd name="connsiteY57" fmla="*/ 1318463 h 1711845"/>
                  <a:gd name="connsiteX58" fmla="*/ 1160145 w 2089784"/>
                  <a:gd name="connsiteY58" fmla="*/ 1321320 h 1711845"/>
                  <a:gd name="connsiteX59" fmla="*/ 1152525 w 2089784"/>
                  <a:gd name="connsiteY59" fmla="*/ 1387043 h 1711845"/>
                  <a:gd name="connsiteX60" fmla="*/ 1132523 w 2089784"/>
                  <a:gd name="connsiteY60" fmla="*/ 1399425 h 1711845"/>
                  <a:gd name="connsiteX61" fmla="*/ 1098232 w 2089784"/>
                  <a:gd name="connsiteY61" fmla="*/ 1380375 h 1711845"/>
                  <a:gd name="connsiteX62" fmla="*/ 1091565 w 2089784"/>
                  <a:gd name="connsiteY62" fmla="*/ 1341323 h 1711845"/>
                  <a:gd name="connsiteX63" fmla="*/ 1081088 w 2089784"/>
                  <a:gd name="connsiteY63" fmla="*/ 1318463 h 1711845"/>
                  <a:gd name="connsiteX64" fmla="*/ 1005840 w 2089784"/>
                  <a:gd name="connsiteY64" fmla="*/ 1318463 h 1711845"/>
                  <a:gd name="connsiteX65" fmla="*/ 989647 w 2089784"/>
                  <a:gd name="connsiteY65" fmla="*/ 1335608 h 1711845"/>
                  <a:gd name="connsiteX66" fmla="*/ 971550 w 2089784"/>
                  <a:gd name="connsiteY66" fmla="*/ 1393710 h 1711845"/>
                  <a:gd name="connsiteX67" fmla="*/ 946785 w 2089784"/>
                  <a:gd name="connsiteY67" fmla="*/ 1411808 h 1711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089784" h="1711845">
                    <a:moveTo>
                      <a:pt x="946785" y="1411808"/>
                    </a:moveTo>
                    <a:cubicBezTo>
                      <a:pt x="944880" y="1407045"/>
                      <a:pt x="944880" y="1406093"/>
                      <a:pt x="944880" y="1404188"/>
                    </a:cubicBezTo>
                    <a:cubicBezTo>
                      <a:pt x="941070" y="1376565"/>
                      <a:pt x="957263" y="1331798"/>
                      <a:pt x="937260" y="1323225"/>
                    </a:cubicBezTo>
                    <a:cubicBezTo>
                      <a:pt x="906780" y="1309890"/>
                      <a:pt x="865822" y="1318463"/>
                      <a:pt x="828675" y="1318463"/>
                    </a:cubicBezTo>
                    <a:cubicBezTo>
                      <a:pt x="821055" y="1318463"/>
                      <a:pt x="815340" y="1320368"/>
                      <a:pt x="815340" y="1328940"/>
                    </a:cubicBezTo>
                    <a:cubicBezTo>
                      <a:pt x="814388" y="1338465"/>
                      <a:pt x="818197" y="1345133"/>
                      <a:pt x="827722" y="1345133"/>
                    </a:cubicBezTo>
                    <a:cubicBezTo>
                      <a:pt x="852488" y="1344180"/>
                      <a:pt x="849630" y="1361325"/>
                      <a:pt x="849630" y="1376565"/>
                    </a:cubicBezTo>
                    <a:cubicBezTo>
                      <a:pt x="849630" y="1474673"/>
                      <a:pt x="849630" y="1573733"/>
                      <a:pt x="849630" y="1671840"/>
                    </a:cubicBezTo>
                    <a:cubicBezTo>
                      <a:pt x="849630" y="1692795"/>
                      <a:pt x="854393" y="1711845"/>
                      <a:pt x="819150" y="1711845"/>
                    </a:cubicBezTo>
                    <a:cubicBezTo>
                      <a:pt x="787718" y="1711845"/>
                      <a:pt x="786765" y="1696605"/>
                      <a:pt x="786765" y="1672793"/>
                    </a:cubicBezTo>
                    <a:cubicBezTo>
                      <a:pt x="787718" y="1554683"/>
                      <a:pt x="784860" y="1436573"/>
                      <a:pt x="787718" y="1318463"/>
                    </a:cubicBezTo>
                    <a:cubicBezTo>
                      <a:pt x="790575" y="1238453"/>
                      <a:pt x="762000" y="1182255"/>
                      <a:pt x="687705" y="1145108"/>
                    </a:cubicBezTo>
                    <a:cubicBezTo>
                      <a:pt x="740093" y="1145108"/>
                      <a:pt x="792480" y="1145108"/>
                      <a:pt x="845820" y="1145108"/>
                    </a:cubicBezTo>
                    <a:cubicBezTo>
                      <a:pt x="860107" y="1145108"/>
                      <a:pt x="874395" y="1147965"/>
                      <a:pt x="873443" y="1125105"/>
                    </a:cubicBezTo>
                    <a:cubicBezTo>
                      <a:pt x="873443" y="1100340"/>
                      <a:pt x="857250" y="1106055"/>
                      <a:pt x="843915" y="1106055"/>
                    </a:cubicBezTo>
                    <a:cubicBezTo>
                      <a:pt x="693420" y="1106055"/>
                      <a:pt x="541972" y="1106055"/>
                      <a:pt x="391477" y="1106055"/>
                    </a:cubicBezTo>
                    <a:cubicBezTo>
                      <a:pt x="380047" y="1106055"/>
                      <a:pt x="363855" y="1114628"/>
                      <a:pt x="360045" y="1093673"/>
                    </a:cubicBezTo>
                    <a:cubicBezTo>
                      <a:pt x="355282" y="1067955"/>
                      <a:pt x="370522" y="1067955"/>
                      <a:pt x="389572" y="1067955"/>
                    </a:cubicBezTo>
                    <a:cubicBezTo>
                      <a:pt x="539115" y="1068908"/>
                      <a:pt x="688657" y="1068908"/>
                      <a:pt x="838200" y="1067955"/>
                    </a:cubicBezTo>
                    <a:cubicBezTo>
                      <a:pt x="849630" y="1067955"/>
                      <a:pt x="866775" y="1077480"/>
                      <a:pt x="871538" y="1058430"/>
                    </a:cubicBezTo>
                    <a:cubicBezTo>
                      <a:pt x="876300" y="1038428"/>
                      <a:pt x="870585" y="1027950"/>
                      <a:pt x="845820" y="1027950"/>
                    </a:cubicBezTo>
                    <a:cubicBezTo>
                      <a:pt x="768668" y="1029855"/>
                      <a:pt x="690563" y="1028903"/>
                      <a:pt x="613410" y="1028903"/>
                    </a:cubicBezTo>
                    <a:cubicBezTo>
                      <a:pt x="534352" y="1028903"/>
                      <a:pt x="456247" y="1028903"/>
                      <a:pt x="377190" y="1028903"/>
                    </a:cubicBezTo>
                    <a:cubicBezTo>
                      <a:pt x="362902" y="1028903"/>
                      <a:pt x="351472" y="1028903"/>
                      <a:pt x="343852" y="1010805"/>
                    </a:cubicBezTo>
                    <a:cubicBezTo>
                      <a:pt x="271463" y="842213"/>
                      <a:pt x="192405" y="793635"/>
                      <a:pt x="0" y="798398"/>
                    </a:cubicBezTo>
                    <a:cubicBezTo>
                      <a:pt x="20955" y="734580"/>
                      <a:pt x="56197" y="681240"/>
                      <a:pt x="99060" y="632663"/>
                    </a:cubicBezTo>
                    <a:cubicBezTo>
                      <a:pt x="213360" y="505980"/>
                      <a:pt x="355282" y="442163"/>
                      <a:pt x="526732" y="442163"/>
                    </a:cubicBezTo>
                    <a:cubicBezTo>
                      <a:pt x="562927" y="442163"/>
                      <a:pt x="608647" y="453593"/>
                      <a:pt x="634365" y="436448"/>
                    </a:cubicBezTo>
                    <a:cubicBezTo>
                      <a:pt x="661035" y="418350"/>
                      <a:pt x="645795" y="368820"/>
                      <a:pt x="650557" y="333578"/>
                    </a:cubicBezTo>
                    <a:cubicBezTo>
                      <a:pt x="676275" y="141173"/>
                      <a:pt x="872490" y="-15037"/>
                      <a:pt x="1068705" y="1155"/>
                    </a:cubicBezTo>
                    <a:cubicBezTo>
                      <a:pt x="1289685" y="19253"/>
                      <a:pt x="1443990" y="184988"/>
                      <a:pt x="1444942" y="406920"/>
                    </a:cubicBezTo>
                    <a:cubicBezTo>
                      <a:pt x="1444942" y="438353"/>
                      <a:pt x="1455420" y="443115"/>
                      <a:pt x="1483042" y="442163"/>
                    </a:cubicBezTo>
                    <a:cubicBezTo>
                      <a:pt x="1584007" y="439305"/>
                      <a:pt x="1684020" y="441210"/>
                      <a:pt x="1780223" y="481215"/>
                    </a:cubicBezTo>
                    <a:cubicBezTo>
                      <a:pt x="1911667" y="535508"/>
                      <a:pt x="2007870" y="626948"/>
                      <a:pt x="2074545" y="751725"/>
                    </a:cubicBezTo>
                    <a:cubicBezTo>
                      <a:pt x="2080260" y="762203"/>
                      <a:pt x="2084070" y="772680"/>
                      <a:pt x="2088832" y="784110"/>
                    </a:cubicBezTo>
                    <a:cubicBezTo>
                      <a:pt x="2089785" y="786968"/>
                      <a:pt x="2089785" y="791730"/>
                      <a:pt x="2089785" y="797445"/>
                    </a:cubicBezTo>
                    <a:cubicBezTo>
                      <a:pt x="2031682" y="793635"/>
                      <a:pt x="1974532" y="791730"/>
                      <a:pt x="1920240" y="815543"/>
                    </a:cubicBezTo>
                    <a:cubicBezTo>
                      <a:pt x="1842135" y="849833"/>
                      <a:pt x="1782128" y="901268"/>
                      <a:pt x="1756410" y="984135"/>
                    </a:cubicBezTo>
                    <a:cubicBezTo>
                      <a:pt x="1744980" y="1021283"/>
                      <a:pt x="1726882" y="1027950"/>
                      <a:pt x="1692592" y="1026998"/>
                    </a:cubicBezTo>
                    <a:cubicBezTo>
                      <a:pt x="1545907" y="1025093"/>
                      <a:pt x="1398270" y="1026045"/>
                      <a:pt x="1251585" y="1026045"/>
                    </a:cubicBezTo>
                    <a:cubicBezTo>
                      <a:pt x="1236345" y="1026045"/>
                      <a:pt x="1215390" y="1018425"/>
                      <a:pt x="1217295" y="1047953"/>
                    </a:cubicBezTo>
                    <a:cubicBezTo>
                      <a:pt x="1218248" y="1076528"/>
                      <a:pt x="1239203" y="1065098"/>
                      <a:pt x="1251585" y="1065098"/>
                    </a:cubicBezTo>
                    <a:cubicBezTo>
                      <a:pt x="1398270" y="1066050"/>
                      <a:pt x="1545907" y="1065098"/>
                      <a:pt x="1692592" y="1066050"/>
                    </a:cubicBezTo>
                    <a:cubicBezTo>
                      <a:pt x="1704975" y="1066050"/>
                      <a:pt x="1728788" y="1051763"/>
                      <a:pt x="1729740" y="1083195"/>
                    </a:cubicBezTo>
                    <a:cubicBezTo>
                      <a:pt x="1730692" y="1114628"/>
                      <a:pt x="1707832" y="1103198"/>
                      <a:pt x="1693545" y="1103198"/>
                    </a:cubicBezTo>
                    <a:cubicBezTo>
                      <a:pt x="1544955" y="1104150"/>
                      <a:pt x="1397317" y="1103198"/>
                      <a:pt x="1248728" y="1104150"/>
                    </a:cubicBezTo>
                    <a:cubicBezTo>
                      <a:pt x="1238250" y="1104150"/>
                      <a:pt x="1221105" y="1094625"/>
                      <a:pt x="1217295" y="1116533"/>
                    </a:cubicBezTo>
                    <a:cubicBezTo>
                      <a:pt x="1214438" y="1134630"/>
                      <a:pt x="1218248" y="1145108"/>
                      <a:pt x="1241107" y="1145108"/>
                    </a:cubicBezTo>
                    <a:cubicBezTo>
                      <a:pt x="1294448" y="1143203"/>
                      <a:pt x="1347788" y="1144155"/>
                      <a:pt x="1402080" y="1147013"/>
                    </a:cubicBezTo>
                    <a:cubicBezTo>
                      <a:pt x="1322070" y="1183208"/>
                      <a:pt x="1298257" y="1245120"/>
                      <a:pt x="1301115" y="1327988"/>
                    </a:cubicBezTo>
                    <a:cubicBezTo>
                      <a:pt x="1304925" y="1443240"/>
                      <a:pt x="1302067" y="1558493"/>
                      <a:pt x="1302067" y="1674698"/>
                    </a:cubicBezTo>
                    <a:cubicBezTo>
                      <a:pt x="1302067" y="1696605"/>
                      <a:pt x="1302067" y="1711845"/>
                      <a:pt x="1271588" y="1711845"/>
                    </a:cubicBezTo>
                    <a:cubicBezTo>
                      <a:pt x="1243013" y="1711845"/>
                      <a:pt x="1240155" y="1699463"/>
                      <a:pt x="1240155" y="1675650"/>
                    </a:cubicBezTo>
                    <a:cubicBezTo>
                      <a:pt x="1241107" y="1577543"/>
                      <a:pt x="1241107" y="1478483"/>
                      <a:pt x="1240155" y="1380375"/>
                    </a:cubicBezTo>
                    <a:cubicBezTo>
                      <a:pt x="1240155" y="1361325"/>
                      <a:pt x="1238250" y="1343228"/>
                      <a:pt x="1266825" y="1345133"/>
                    </a:cubicBezTo>
                    <a:cubicBezTo>
                      <a:pt x="1277303" y="1346085"/>
                      <a:pt x="1278255" y="1336560"/>
                      <a:pt x="1278255" y="1327988"/>
                    </a:cubicBezTo>
                    <a:cubicBezTo>
                      <a:pt x="1278255" y="1315605"/>
                      <a:pt x="1268730" y="1318463"/>
                      <a:pt x="1261110" y="1318463"/>
                    </a:cubicBezTo>
                    <a:cubicBezTo>
                      <a:pt x="1250632" y="1318463"/>
                      <a:pt x="1240155" y="1318463"/>
                      <a:pt x="1229678" y="1318463"/>
                    </a:cubicBezTo>
                    <a:cubicBezTo>
                      <a:pt x="1205865" y="1318463"/>
                      <a:pt x="1177290" y="1310843"/>
                      <a:pt x="1160145" y="1321320"/>
                    </a:cubicBezTo>
                    <a:cubicBezTo>
                      <a:pt x="1140142" y="1333703"/>
                      <a:pt x="1154430" y="1364183"/>
                      <a:pt x="1152525" y="1387043"/>
                    </a:cubicBezTo>
                    <a:cubicBezTo>
                      <a:pt x="1150620" y="1401330"/>
                      <a:pt x="1149667" y="1411808"/>
                      <a:pt x="1132523" y="1399425"/>
                    </a:cubicBezTo>
                    <a:cubicBezTo>
                      <a:pt x="1122045" y="1391805"/>
                      <a:pt x="1110615" y="1386090"/>
                      <a:pt x="1098232" y="1380375"/>
                    </a:cubicBezTo>
                    <a:cubicBezTo>
                      <a:pt x="1078230" y="1369898"/>
                      <a:pt x="1075373" y="1358468"/>
                      <a:pt x="1091565" y="1341323"/>
                    </a:cubicBezTo>
                    <a:cubicBezTo>
                      <a:pt x="1104900" y="1327035"/>
                      <a:pt x="1101090" y="1318463"/>
                      <a:pt x="1081088" y="1318463"/>
                    </a:cubicBezTo>
                    <a:cubicBezTo>
                      <a:pt x="1056323" y="1318463"/>
                      <a:pt x="1031557" y="1318463"/>
                      <a:pt x="1005840" y="1318463"/>
                    </a:cubicBezTo>
                    <a:cubicBezTo>
                      <a:pt x="993457" y="1318463"/>
                      <a:pt x="980122" y="1326083"/>
                      <a:pt x="989647" y="1335608"/>
                    </a:cubicBezTo>
                    <a:cubicBezTo>
                      <a:pt x="1024890" y="1369898"/>
                      <a:pt x="994410" y="1379423"/>
                      <a:pt x="971550" y="1393710"/>
                    </a:cubicBezTo>
                    <a:cubicBezTo>
                      <a:pt x="966788" y="1398473"/>
                      <a:pt x="958215" y="1404188"/>
                      <a:pt x="946785" y="1411808"/>
                    </a:cubicBezTo>
                    <a:close/>
                  </a:path>
                </a:pathLst>
              </a:custGeom>
              <a:solidFill>
                <a:srgbClr val="FEFEF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任意多边形: 形状 174"/>
              <p:cNvSpPr/>
              <p:nvPr/>
            </p:nvSpPr>
            <p:spPr>
              <a:xfrm>
                <a:off x="5729166" y="4263016"/>
                <a:ext cx="745010" cy="263751"/>
              </a:xfrm>
              <a:custGeom>
                <a:avLst/>
                <a:gdLst>
                  <a:gd name="connsiteX0" fmla="*/ 745011 w 745010"/>
                  <a:gd name="connsiteY0" fmla="*/ 3810 h 263751"/>
                  <a:gd name="connsiteX1" fmla="*/ 504028 w 745010"/>
                  <a:gd name="connsiteY1" fmla="*/ 240983 h 263751"/>
                  <a:gd name="connsiteX2" fmla="*/ 6823 w 745010"/>
                  <a:gd name="connsiteY2" fmla="*/ 30480 h 263751"/>
                  <a:gd name="connsiteX3" fmla="*/ 23016 w 745010"/>
                  <a:gd name="connsiteY3" fmla="*/ 0 h 263751"/>
                  <a:gd name="connsiteX4" fmla="*/ 731676 w 745010"/>
                  <a:gd name="connsiteY4" fmla="*/ 953 h 263751"/>
                  <a:gd name="connsiteX5" fmla="*/ 745011 w 745010"/>
                  <a:gd name="connsiteY5" fmla="*/ 3810 h 2637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45010" h="263751">
                    <a:moveTo>
                      <a:pt x="745011" y="3810"/>
                    </a:moveTo>
                    <a:cubicBezTo>
                      <a:pt x="699291" y="120015"/>
                      <a:pt x="619281" y="199073"/>
                      <a:pt x="504028" y="240983"/>
                    </a:cubicBezTo>
                    <a:cubicBezTo>
                      <a:pt x="308766" y="310515"/>
                      <a:pt x="87785" y="215265"/>
                      <a:pt x="6823" y="30480"/>
                    </a:cubicBezTo>
                    <a:cubicBezTo>
                      <a:pt x="-1749" y="11430"/>
                      <a:pt x="-7465" y="0"/>
                      <a:pt x="23016" y="0"/>
                    </a:cubicBezTo>
                    <a:cubicBezTo>
                      <a:pt x="259235" y="953"/>
                      <a:pt x="495456" y="0"/>
                      <a:pt x="731676" y="953"/>
                    </a:cubicBezTo>
                    <a:cubicBezTo>
                      <a:pt x="734533" y="953"/>
                      <a:pt x="738343" y="1905"/>
                      <a:pt x="745011" y="3810"/>
                    </a:cubicBezTo>
                    <a:close/>
                  </a:path>
                </a:pathLst>
              </a:custGeom>
              <a:solidFill>
                <a:srgbClr val="FCFD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任意多边形: 形状 175"/>
              <p:cNvSpPr/>
              <p:nvPr/>
            </p:nvSpPr>
            <p:spPr>
              <a:xfrm>
                <a:off x="5994990" y="3912496"/>
                <a:ext cx="213510" cy="311467"/>
              </a:xfrm>
              <a:custGeom>
                <a:avLst/>
                <a:gdLst>
                  <a:gd name="connsiteX0" fmla="*/ 213439 w 213510"/>
                  <a:gd name="connsiteY0" fmla="*/ 186690 h 311467"/>
                  <a:gd name="connsiteX1" fmla="*/ 213439 w 213510"/>
                  <a:gd name="connsiteY1" fmla="*/ 284797 h 311467"/>
                  <a:gd name="connsiteX2" fmla="*/ 185817 w 213510"/>
                  <a:gd name="connsiteY2" fmla="*/ 311468 h 311467"/>
                  <a:gd name="connsiteX3" fmla="*/ 24844 w 213510"/>
                  <a:gd name="connsiteY3" fmla="*/ 311468 h 311467"/>
                  <a:gd name="connsiteX4" fmla="*/ 79 w 213510"/>
                  <a:gd name="connsiteY4" fmla="*/ 287655 h 311467"/>
                  <a:gd name="connsiteX5" fmla="*/ 1032 w 213510"/>
                  <a:gd name="connsiteY5" fmla="*/ 99060 h 311467"/>
                  <a:gd name="connsiteX6" fmla="*/ 107711 w 213510"/>
                  <a:gd name="connsiteY6" fmla="*/ 0 h 311467"/>
                  <a:gd name="connsiteX7" fmla="*/ 212486 w 213510"/>
                  <a:gd name="connsiteY7" fmla="*/ 100013 h 311467"/>
                  <a:gd name="connsiteX8" fmla="*/ 213439 w 213510"/>
                  <a:gd name="connsiteY8" fmla="*/ 186690 h 311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3510" h="311467">
                    <a:moveTo>
                      <a:pt x="213439" y="186690"/>
                    </a:moveTo>
                    <a:cubicBezTo>
                      <a:pt x="213439" y="219075"/>
                      <a:pt x="212486" y="252413"/>
                      <a:pt x="213439" y="284797"/>
                    </a:cubicBezTo>
                    <a:cubicBezTo>
                      <a:pt x="214392" y="305753"/>
                      <a:pt x="205819" y="311468"/>
                      <a:pt x="185817" y="311468"/>
                    </a:cubicBezTo>
                    <a:cubicBezTo>
                      <a:pt x="132477" y="310515"/>
                      <a:pt x="78184" y="310515"/>
                      <a:pt x="24844" y="311468"/>
                    </a:cubicBezTo>
                    <a:cubicBezTo>
                      <a:pt x="6746" y="311468"/>
                      <a:pt x="-873" y="306705"/>
                      <a:pt x="79" y="287655"/>
                    </a:cubicBezTo>
                    <a:cubicBezTo>
                      <a:pt x="1032" y="224790"/>
                      <a:pt x="-873" y="161925"/>
                      <a:pt x="1032" y="99060"/>
                    </a:cubicBezTo>
                    <a:cubicBezTo>
                      <a:pt x="1984" y="45720"/>
                      <a:pt x="53419" y="0"/>
                      <a:pt x="107711" y="0"/>
                    </a:cubicBezTo>
                    <a:cubicBezTo>
                      <a:pt x="163909" y="0"/>
                      <a:pt x="211534" y="44768"/>
                      <a:pt x="212486" y="100013"/>
                    </a:cubicBezTo>
                    <a:cubicBezTo>
                      <a:pt x="213439" y="129540"/>
                      <a:pt x="213439" y="158115"/>
                      <a:pt x="213439" y="186690"/>
                    </a:cubicBezTo>
                    <a:close/>
                  </a:path>
                </a:pathLst>
              </a:custGeom>
              <a:solidFill>
                <a:srgbClr val="FDFEF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任意多边形: 形状 176"/>
              <p:cNvSpPr/>
              <p:nvPr/>
            </p:nvSpPr>
            <p:spPr>
              <a:xfrm>
                <a:off x="6397024" y="3698489"/>
                <a:ext cx="188564" cy="226490"/>
              </a:xfrm>
              <a:custGeom>
                <a:avLst/>
                <a:gdLst>
                  <a:gd name="connsiteX0" fmla="*/ 0 w 188564"/>
                  <a:gd name="connsiteY0" fmla="*/ 146380 h 226490"/>
                  <a:gd name="connsiteX1" fmla="*/ 0 w 188564"/>
                  <a:gd name="connsiteY1" fmla="*/ 99707 h 226490"/>
                  <a:gd name="connsiteX2" fmla="*/ 62865 w 188564"/>
                  <a:gd name="connsiteY2" fmla="*/ 9220 h 226490"/>
                  <a:gd name="connsiteX3" fmla="*/ 175260 w 188564"/>
                  <a:gd name="connsiteY3" fmla="*/ 29222 h 226490"/>
                  <a:gd name="connsiteX4" fmla="*/ 180975 w 188564"/>
                  <a:gd name="connsiteY4" fmla="*/ 68275 h 226490"/>
                  <a:gd name="connsiteX5" fmla="*/ 134303 w 188564"/>
                  <a:gd name="connsiteY5" fmla="*/ 206387 h 226490"/>
                  <a:gd name="connsiteX6" fmla="*/ 113348 w 188564"/>
                  <a:gd name="connsiteY6" fmla="*/ 226390 h 226490"/>
                  <a:gd name="connsiteX7" fmla="*/ 78105 w 188564"/>
                  <a:gd name="connsiteY7" fmla="*/ 226390 h 226490"/>
                  <a:gd name="connsiteX8" fmla="*/ 0 w 188564"/>
                  <a:gd name="connsiteY8" fmla="*/ 146380 h 226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8564" h="226490">
                    <a:moveTo>
                      <a:pt x="0" y="146380"/>
                    </a:moveTo>
                    <a:cubicBezTo>
                      <a:pt x="0" y="131140"/>
                      <a:pt x="0" y="114947"/>
                      <a:pt x="0" y="99707"/>
                    </a:cubicBezTo>
                    <a:cubicBezTo>
                      <a:pt x="953" y="55892"/>
                      <a:pt x="24765" y="26365"/>
                      <a:pt x="62865" y="9220"/>
                    </a:cubicBezTo>
                    <a:cubicBezTo>
                      <a:pt x="103823" y="-8878"/>
                      <a:pt x="141923" y="647"/>
                      <a:pt x="175260" y="29222"/>
                    </a:cubicBezTo>
                    <a:cubicBezTo>
                      <a:pt x="188595" y="40652"/>
                      <a:pt x="194310" y="51130"/>
                      <a:pt x="180975" y="68275"/>
                    </a:cubicBezTo>
                    <a:cubicBezTo>
                      <a:pt x="151448" y="109232"/>
                      <a:pt x="134303" y="154952"/>
                      <a:pt x="134303" y="206387"/>
                    </a:cubicBezTo>
                    <a:cubicBezTo>
                      <a:pt x="134303" y="221627"/>
                      <a:pt x="127635" y="227342"/>
                      <a:pt x="113348" y="226390"/>
                    </a:cubicBezTo>
                    <a:cubicBezTo>
                      <a:pt x="101918" y="225437"/>
                      <a:pt x="89535" y="226390"/>
                      <a:pt x="78105" y="226390"/>
                    </a:cubicBezTo>
                    <a:cubicBezTo>
                      <a:pt x="0" y="226390"/>
                      <a:pt x="0" y="226390"/>
                      <a:pt x="0" y="146380"/>
                    </a:cubicBezTo>
                    <a:close/>
                  </a:path>
                </a:pathLst>
              </a:custGeom>
              <a:solidFill>
                <a:srgbClr val="FCFDF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任意多边形: 形状 177"/>
              <p:cNvSpPr/>
              <p:nvPr/>
            </p:nvSpPr>
            <p:spPr>
              <a:xfrm>
                <a:off x="5613886" y="3697177"/>
                <a:ext cx="186902" cy="227789"/>
              </a:xfrm>
              <a:custGeom>
                <a:avLst/>
                <a:gdLst>
                  <a:gd name="connsiteX0" fmla="*/ 186873 w 186902"/>
                  <a:gd name="connsiteY0" fmla="*/ 152454 h 227789"/>
                  <a:gd name="connsiteX1" fmla="*/ 111626 w 186902"/>
                  <a:gd name="connsiteY1" fmla="*/ 227701 h 227789"/>
                  <a:gd name="connsiteX2" fmla="*/ 76383 w 186902"/>
                  <a:gd name="connsiteY2" fmla="*/ 227701 h 227789"/>
                  <a:gd name="connsiteX3" fmla="*/ 53523 w 186902"/>
                  <a:gd name="connsiteY3" fmla="*/ 204841 h 227789"/>
                  <a:gd name="connsiteX4" fmla="*/ 7803 w 186902"/>
                  <a:gd name="connsiteY4" fmla="*/ 69587 h 227789"/>
                  <a:gd name="connsiteX5" fmla="*/ 14471 w 186902"/>
                  <a:gd name="connsiteY5" fmla="*/ 26724 h 227789"/>
                  <a:gd name="connsiteX6" fmla="*/ 127818 w 186902"/>
                  <a:gd name="connsiteY6" fmla="*/ 10531 h 227789"/>
                  <a:gd name="connsiteX7" fmla="*/ 186873 w 186902"/>
                  <a:gd name="connsiteY7" fmla="*/ 103876 h 227789"/>
                  <a:gd name="connsiteX8" fmla="*/ 186873 w 186902"/>
                  <a:gd name="connsiteY8" fmla="*/ 152454 h 227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6902" h="227789">
                    <a:moveTo>
                      <a:pt x="186873" y="152454"/>
                    </a:moveTo>
                    <a:cubicBezTo>
                      <a:pt x="186873" y="227701"/>
                      <a:pt x="186873" y="227701"/>
                      <a:pt x="111626" y="227701"/>
                    </a:cubicBezTo>
                    <a:cubicBezTo>
                      <a:pt x="100196" y="227701"/>
                      <a:pt x="87813" y="226749"/>
                      <a:pt x="76383" y="227701"/>
                    </a:cubicBezTo>
                    <a:cubicBezTo>
                      <a:pt x="59238" y="228654"/>
                      <a:pt x="52571" y="221987"/>
                      <a:pt x="53523" y="204841"/>
                    </a:cubicBezTo>
                    <a:cubicBezTo>
                      <a:pt x="54476" y="154359"/>
                      <a:pt x="36378" y="109591"/>
                      <a:pt x="7803" y="69587"/>
                    </a:cubicBezTo>
                    <a:cubicBezTo>
                      <a:pt x="-5532" y="50537"/>
                      <a:pt x="-769" y="39106"/>
                      <a:pt x="14471" y="26724"/>
                    </a:cubicBezTo>
                    <a:cubicBezTo>
                      <a:pt x="48761" y="-899"/>
                      <a:pt x="87813" y="-8519"/>
                      <a:pt x="127818" y="10531"/>
                    </a:cubicBezTo>
                    <a:cubicBezTo>
                      <a:pt x="165918" y="28629"/>
                      <a:pt x="187826" y="60062"/>
                      <a:pt x="186873" y="103876"/>
                    </a:cubicBezTo>
                    <a:cubicBezTo>
                      <a:pt x="185921" y="121022"/>
                      <a:pt x="186873" y="136262"/>
                      <a:pt x="186873" y="152454"/>
                    </a:cubicBezTo>
                    <a:close/>
                  </a:path>
                </a:pathLst>
              </a:custGeom>
              <a:solidFill>
                <a:srgbClr val="FDFDF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任意多边形: 形状 178"/>
              <p:cNvSpPr/>
              <p:nvPr/>
            </p:nvSpPr>
            <p:spPr>
              <a:xfrm>
                <a:off x="6396925" y="3962137"/>
                <a:ext cx="87729" cy="262031"/>
              </a:xfrm>
              <a:custGeom>
                <a:avLst/>
                <a:gdLst>
                  <a:gd name="connsiteX0" fmla="*/ 87729 w 87729"/>
                  <a:gd name="connsiteY0" fmla="*/ 1794 h 262031"/>
                  <a:gd name="connsiteX1" fmla="*/ 57249 w 87729"/>
                  <a:gd name="connsiteY1" fmla="*/ 228489 h 262031"/>
                  <a:gd name="connsiteX2" fmla="*/ 25817 w 87729"/>
                  <a:gd name="connsiteY2" fmla="*/ 261827 h 262031"/>
                  <a:gd name="connsiteX3" fmla="*/ 99 w 87729"/>
                  <a:gd name="connsiteY3" fmla="*/ 234204 h 262031"/>
                  <a:gd name="connsiteX4" fmla="*/ 99 w 87729"/>
                  <a:gd name="connsiteY4" fmla="*/ 37989 h 262031"/>
                  <a:gd name="connsiteX5" fmla="*/ 39152 w 87729"/>
                  <a:gd name="connsiteY5" fmla="*/ 841 h 262031"/>
                  <a:gd name="connsiteX6" fmla="*/ 87729 w 87729"/>
                  <a:gd name="connsiteY6" fmla="*/ 1794 h 262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729" h="262031">
                    <a:moveTo>
                      <a:pt x="87729" y="1794"/>
                    </a:moveTo>
                    <a:cubicBezTo>
                      <a:pt x="41057" y="76089"/>
                      <a:pt x="60107" y="154194"/>
                      <a:pt x="57249" y="228489"/>
                    </a:cubicBezTo>
                    <a:cubicBezTo>
                      <a:pt x="56297" y="252302"/>
                      <a:pt x="53439" y="263732"/>
                      <a:pt x="25817" y="261827"/>
                    </a:cubicBezTo>
                    <a:cubicBezTo>
                      <a:pt x="4862" y="260874"/>
                      <a:pt x="-853" y="254207"/>
                      <a:pt x="99" y="234204"/>
                    </a:cubicBezTo>
                    <a:cubicBezTo>
                      <a:pt x="1052" y="168482"/>
                      <a:pt x="2957" y="103712"/>
                      <a:pt x="99" y="37989"/>
                    </a:cubicBezTo>
                    <a:cubicBezTo>
                      <a:pt x="-853" y="5604"/>
                      <a:pt x="9624" y="-2968"/>
                      <a:pt x="39152" y="841"/>
                    </a:cubicBezTo>
                    <a:cubicBezTo>
                      <a:pt x="52487" y="3699"/>
                      <a:pt x="67727" y="1794"/>
                      <a:pt x="87729" y="1794"/>
                    </a:cubicBezTo>
                    <a:close/>
                  </a:path>
                </a:pathLst>
              </a:custGeom>
              <a:solidFill>
                <a:srgbClr val="F9FD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任意多边形: 形状 179"/>
              <p:cNvSpPr/>
              <p:nvPr/>
            </p:nvSpPr>
            <p:spPr>
              <a:xfrm>
                <a:off x="5716939" y="3962198"/>
                <a:ext cx="83820" cy="261830"/>
              </a:xfrm>
              <a:custGeom>
                <a:avLst/>
                <a:gdLst>
                  <a:gd name="connsiteX0" fmla="*/ 0 w 83820"/>
                  <a:gd name="connsiteY0" fmla="*/ 7448 h 261830"/>
                  <a:gd name="connsiteX1" fmla="*/ 5715 w 83820"/>
                  <a:gd name="connsiteY1" fmla="*/ 2685 h 261830"/>
                  <a:gd name="connsiteX2" fmla="*/ 83820 w 83820"/>
                  <a:gd name="connsiteY2" fmla="*/ 73170 h 261830"/>
                  <a:gd name="connsiteX3" fmla="*/ 83820 w 83820"/>
                  <a:gd name="connsiteY3" fmla="*/ 234143 h 261830"/>
                  <a:gd name="connsiteX4" fmla="*/ 58103 w 83820"/>
                  <a:gd name="connsiteY4" fmla="*/ 261766 h 261830"/>
                  <a:gd name="connsiteX5" fmla="*/ 27623 w 83820"/>
                  <a:gd name="connsiteY5" fmla="*/ 235095 h 261830"/>
                  <a:gd name="connsiteX6" fmla="*/ 28575 w 83820"/>
                  <a:gd name="connsiteY6" fmla="*/ 144608 h 261830"/>
                  <a:gd name="connsiteX7" fmla="*/ 0 w 83820"/>
                  <a:gd name="connsiteY7" fmla="*/ 7448 h 261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20" h="261830">
                    <a:moveTo>
                      <a:pt x="0" y="7448"/>
                    </a:moveTo>
                    <a:cubicBezTo>
                      <a:pt x="3810" y="4591"/>
                      <a:pt x="4763" y="2685"/>
                      <a:pt x="5715" y="2685"/>
                    </a:cubicBezTo>
                    <a:cubicBezTo>
                      <a:pt x="83820" y="-3982"/>
                      <a:pt x="83820" y="-3982"/>
                      <a:pt x="83820" y="73170"/>
                    </a:cubicBezTo>
                    <a:cubicBezTo>
                      <a:pt x="83820" y="126510"/>
                      <a:pt x="82868" y="180803"/>
                      <a:pt x="83820" y="234143"/>
                    </a:cubicBezTo>
                    <a:cubicBezTo>
                      <a:pt x="83820" y="253193"/>
                      <a:pt x="80010" y="262718"/>
                      <a:pt x="58103" y="261766"/>
                    </a:cubicBezTo>
                    <a:cubicBezTo>
                      <a:pt x="39053" y="260813"/>
                      <a:pt x="25718" y="260813"/>
                      <a:pt x="27623" y="235095"/>
                    </a:cubicBezTo>
                    <a:cubicBezTo>
                      <a:pt x="29528" y="205568"/>
                      <a:pt x="27623" y="175088"/>
                      <a:pt x="28575" y="144608"/>
                    </a:cubicBezTo>
                    <a:cubicBezTo>
                      <a:pt x="28575" y="96983"/>
                      <a:pt x="32385" y="48405"/>
                      <a:pt x="0" y="7448"/>
                    </a:cubicBezTo>
                    <a:close/>
                  </a:path>
                </a:pathLst>
              </a:custGeom>
              <a:solidFill>
                <a:srgbClr val="FAFDF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任意多边形: 形状 180"/>
              <p:cNvSpPr/>
              <p:nvPr/>
            </p:nvSpPr>
            <p:spPr>
              <a:xfrm>
                <a:off x="6533232" y="3659131"/>
                <a:ext cx="188594" cy="55004"/>
              </a:xfrm>
              <a:custGeom>
                <a:avLst/>
                <a:gdLst>
                  <a:gd name="connsiteX0" fmla="*/ 0 w 188594"/>
                  <a:gd name="connsiteY0" fmla="*/ 0 h 55004"/>
                  <a:gd name="connsiteX1" fmla="*/ 188595 w 188594"/>
                  <a:gd name="connsiteY1" fmla="*/ 0 h 55004"/>
                  <a:gd name="connsiteX2" fmla="*/ 100013 w 188594"/>
                  <a:gd name="connsiteY2" fmla="*/ 49530 h 55004"/>
                  <a:gd name="connsiteX3" fmla="*/ 74295 w 188594"/>
                  <a:gd name="connsiteY3" fmla="*/ 46672 h 55004"/>
                  <a:gd name="connsiteX4" fmla="*/ 0 w 188594"/>
                  <a:gd name="connsiteY4" fmla="*/ 0 h 55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8594" h="55004">
                    <a:moveTo>
                      <a:pt x="0" y="0"/>
                    </a:moveTo>
                    <a:cubicBezTo>
                      <a:pt x="68580" y="0"/>
                      <a:pt x="125730" y="0"/>
                      <a:pt x="188595" y="0"/>
                    </a:cubicBezTo>
                    <a:cubicBezTo>
                      <a:pt x="155257" y="18097"/>
                      <a:pt x="124778" y="28575"/>
                      <a:pt x="100013" y="49530"/>
                    </a:cubicBezTo>
                    <a:cubicBezTo>
                      <a:pt x="89535" y="58103"/>
                      <a:pt x="81915" y="56197"/>
                      <a:pt x="74295" y="46672"/>
                    </a:cubicBezTo>
                    <a:cubicBezTo>
                      <a:pt x="57150" y="26670"/>
                      <a:pt x="34290" y="14288"/>
                      <a:pt x="0" y="0"/>
                    </a:cubicBezTo>
                    <a:close/>
                  </a:path>
                </a:pathLst>
              </a:custGeom>
              <a:solidFill>
                <a:srgbClr val="F2FBF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任意多边形: 形状 181"/>
              <p:cNvSpPr/>
              <p:nvPr/>
            </p:nvSpPr>
            <p:spPr>
              <a:xfrm>
                <a:off x="5489292" y="3660084"/>
                <a:ext cx="168592" cy="53704"/>
              </a:xfrm>
              <a:custGeom>
                <a:avLst/>
                <a:gdLst>
                  <a:gd name="connsiteX0" fmla="*/ 0 w 168592"/>
                  <a:gd name="connsiteY0" fmla="*/ 0 h 53704"/>
                  <a:gd name="connsiteX1" fmla="*/ 168592 w 168592"/>
                  <a:gd name="connsiteY1" fmla="*/ 0 h 53704"/>
                  <a:gd name="connsiteX2" fmla="*/ 99060 w 168592"/>
                  <a:gd name="connsiteY2" fmla="*/ 48578 h 53704"/>
                  <a:gd name="connsiteX3" fmla="*/ 78105 w 168592"/>
                  <a:gd name="connsiteY3" fmla="*/ 49530 h 53704"/>
                  <a:gd name="connsiteX4" fmla="*/ 0 w 168592"/>
                  <a:gd name="connsiteY4" fmla="*/ 0 h 53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8592" h="53704">
                    <a:moveTo>
                      <a:pt x="0" y="0"/>
                    </a:moveTo>
                    <a:cubicBezTo>
                      <a:pt x="52388" y="0"/>
                      <a:pt x="104775" y="0"/>
                      <a:pt x="168592" y="0"/>
                    </a:cubicBezTo>
                    <a:cubicBezTo>
                      <a:pt x="138113" y="17145"/>
                      <a:pt x="115253" y="28575"/>
                      <a:pt x="99060" y="48578"/>
                    </a:cubicBezTo>
                    <a:cubicBezTo>
                      <a:pt x="92392" y="56197"/>
                      <a:pt x="85725" y="54293"/>
                      <a:pt x="78105" y="49530"/>
                    </a:cubicBezTo>
                    <a:cubicBezTo>
                      <a:pt x="54292" y="29528"/>
                      <a:pt x="25717" y="17145"/>
                      <a:pt x="0" y="0"/>
                    </a:cubicBezTo>
                    <a:close/>
                  </a:path>
                </a:pathLst>
              </a:custGeom>
              <a:solidFill>
                <a:srgbClr val="F3FCF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任意多边形: 形状 182"/>
              <p:cNvSpPr/>
              <p:nvPr/>
            </p:nvSpPr>
            <p:spPr>
              <a:xfrm>
                <a:off x="5904653" y="3060725"/>
                <a:ext cx="394654" cy="756607"/>
              </a:xfrm>
              <a:custGeom>
                <a:avLst/>
                <a:gdLst>
                  <a:gd name="connsiteX0" fmla="*/ 351401 w 394654"/>
                  <a:gd name="connsiteY0" fmla="*/ 330754 h 756607"/>
                  <a:gd name="connsiteX1" fmla="*/ 351401 w 394654"/>
                  <a:gd name="connsiteY1" fmla="*/ 629839 h 756607"/>
                  <a:gd name="connsiteX2" fmla="*/ 373308 w 394654"/>
                  <a:gd name="connsiteY2" fmla="*/ 660319 h 756607"/>
                  <a:gd name="connsiteX3" fmla="*/ 391406 w 394654"/>
                  <a:gd name="connsiteY3" fmla="*/ 679369 h 756607"/>
                  <a:gd name="connsiteX4" fmla="*/ 324731 w 394654"/>
                  <a:gd name="connsiteY4" fmla="*/ 755569 h 756607"/>
                  <a:gd name="connsiteX5" fmla="*/ 38029 w 394654"/>
                  <a:gd name="connsiteY5" fmla="*/ 756521 h 756607"/>
                  <a:gd name="connsiteX6" fmla="*/ 1834 w 394654"/>
                  <a:gd name="connsiteY6" fmla="*/ 720327 h 756607"/>
                  <a:gd name="connsiteX7" fmla="*/ 33266 w 394654"/>
                  <a:gd name="connsiteY7" fmla="*/ 658414 h 756607"/>
                  <a:gd name="connsiteX8" fmla="*/ 37076 w 394654"/>
                  <a:gd name="connsiteY8" fmla="*/ 625077 h 756607"/>
                  <a:gd name="connsiteX9" fmla="*/ 36123 w 394654"/>
                  <a:gd name="connsiteY9" fmla="*/ 39289 h 756607"/>
                  <a:gd name="connsiteX10" fmla="*/ 85654 w 394654"/>
                  <a:gd name="connsiteY10" fmla="*/ 236 h 756607"/>
                  <a:gd name="connsiteX11" fmla="*/ 133279 w 394654"/>
                  <a:gd name="connsiteY11" fmla="*/ 38336 h 756607"/>
                  <a:gd name="connsiteX12" fmla="*/ 131373 w 394654"/>
                  <a:gd name="connsiteY12" fmla="*/ 184069 h 756607"/>
                  <a:gd name="connsiteX13" fmla="*/ 165664 w 394654"/>
                  <a:gd name="connsiteY13" fmla="*/ 211691 h 756607"/>
                  <a:gd name="connsiteX14" fmla="*/ 226623 w 394654"/>
                  <a:gd name="connsiteY14" fmla="*/ 211691 h 756607"/>
                  <a:gd name="connsiteX15" fmla="*/ 259008 w 394654"/>
                  <a:gd name="connsiteY15" fmla="*/ 185974 h 756607"/>
                  <a:gd name="connsiteX16" fmla="*/ 258056 w 394654"/>
                  <a:gd name="connsiteY16" fmla="*/ 28811 h 756607"/>
                  <a:gd name="connsiteX17" fmla="*/ 285679 w 394654"/>
                  <a:gd name="connsiteY17" fmla="*/ 236 h 756607"/>
                  <a:gd name="connsiteX18" fmla="*/ 352354 w 394654"/>
                  <a:gd name="connsiteY18" fmla="*/ 65006 h 756607"/>
                  <a:gd name="connsiteX19" fmla="*/ 351401 w 394654"/>
                  <a:gd name="connsiteY19" fmla="*/ 330754 h 7566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94654" h="756607">
                    <a:moveTo>
                      <a:pt x="351401" y="330754"/>
                    </a:moveTo>
                    <a:cubicBezTo>
                      <a:pt x="351401" y="430766"/>
                      <a:pt x="351401" y="529827"/>
                      <a:pt x="351401" y="629839"/>
                    </a:cubicBezTo>
                    <a:cubicBezTo>
                      <a:pt x="351401" y="645079"/>
                      <a:pt x="347591" y="663177"/>
                      <a:pt x="373308" y="660319"/>
                    </a:cubicBezTo>
                    <a:cubicBezTo>
                      <a:pt x="387596" y="658414"/>
                      <a:pt x="389501" y="666986"/>
                      <a:pt x="391406" y="679369"/>
                    </a:cubicBezTo>
                    <a:cubicBezTo>
                      <a:pt x="399026" y="754616"/>
                      <a:pt x="399026" y="755569"/>
                      <a:pt x="324731" y="755569"/>
                    </a:cubicBezTo>
                    <a:cubicBezTo>
                      <a:pt x="229481" y="755569"/>
                      <a:pt x="133279" y="754616"/>
                      <a:pt x="38029" y="756521"/>
                    </a:cubicBezTo>
                    <a:cubicBezTo>
                      <a:pt x="9454" y="757474"/>
                      <a:pt x="-4834" y="750806"/>
                      <a:pt x="1834" y="720327"/>
                    </a:cubicBezTo>
                    <a:cubicBezTo>
                      <a:pt x="7548" y="697466"/>
                      <a:pt x="-19121" y="659366"/>
                      <a:pt x="33266" y="658414"/>
                    </a:cubicBezTo>
                    <a:cubicBezTo>
                      <a:pt x="40886" y="658414"/>
                      <a:pt x="37076" y="636506"/>
                      <a:pt x="37076" y="625077"/>
                    </a:cubicBezTo>
                    <a:cubicBezTo>
                      <a:pt x="37076" y="429814"/>
                      <a:pt x="38981" y="234551"/>
                      <a:pt x="36123" y="39289"/>
                    </a:cubicBezTo>
                    <a:cubicBezTo>
                      <a:pt x="35171" y="-5479"/>
                      <a:pt x="58031" y="236"/>
                      <a:pt x="85654" y="236"/>
                    </a:cubicBezTo>
                    <a:cubicBezTo>
                      <a:pt x="112323" y="236"/>
                      <a:pt x="137089" y="-4526"/>
                      <a:pt x="133279" y="38336"/>
                    </a:cubicBezTo>
                    <a:cubicBezTo>
                      <a:pt x="128516" y="85961"/>
                      <a:pt x="134231" y="135491"/>
                      <a:pt x="131373" y="184069"/>
                    </a:cubicBezTo>
                    <a:cubicBezTo>
                      <a:pt x="129469" y="214549"/>
                      <a:pt x="144708" y="219311"/>
                      <a:pt x="165664" y="211691"/>
                    </a:cubicBezTo>
                    <a:cubicBezTo>
                      <a:pt x="186619" y="204071"/>
                      <a:pt x="205669" y="205024"/>
                      <a:pt x="226623" y="211691"/>
                    </a:cubicBezTo>
                    <a:cubicBezTo>
                      <a:pt x="245673" y="217406"/>
                      <a:pt x="260914" y="213596"/>
                      <a:pt x="259008" y="185974"/>
                    </a:cubicBezTo>
                    <a:cubicBezTo>
                      <a:pt x="256151" y="133586"/>
                      <a:pt x="259008" y="81199"/>
                      <a:pt x="258056" y="28811"/>
                    </a:cubicBezTo>
                    <a:cubicBezTo>
                      <a:pt x="257104" y="6904"/>
                      <a:pt x="263771" y="236"/>
                      <a:pt x="285679" y="236"/>
                    </a:cubicBezTo>
                    <a:cubicBezTo>
                      <a:pt x="352354" y="236"/>
                      <a:pt x="352354" y="-716"/>
                      <a:pt x="352354" y="65006"/>
                    </a:cubicBezTo>
                    <a:cubicBezTo>
                      <a:pt x="352354" y="152636"/>
                      <a:pt x="352354" y="242171"/>
                      <a:pt x="351401" y="330754"/>
                    </a:cubicBezTo>
                    <a:close/>
                  </a:path>
                </a:pathLst>
              </a:custGeom>
              <a:solidFill>
                <a:srgbClr val="01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任意多边形: 形状 183"/>
              <p:cNvSpPr/>
              <p:nvPr/>
            </p:nvSpPr>
            <p:spPr>
              <a:xfrm>
                <a:off x="5904582" y="2612334"/>
                <a:ext cx="389620" cy="408912"/>
              </a:xfrm>
              <a:custGeom>
                <a:avLst/>
                <a:gdLst>
                  <a:gd name="connsiteX0" fmla="*/ 186690 w 389620"/>
                  <a:gd name="connsiteY0" fmla="*/ 0 h 408912"/>
                  <a:gd name="connsiteX1" fmla="*/ 201930 w 389620"/>
                  <a:gd name="connsiteY1" fmla="*/ 47625 h 408912"/>
                  <a:gd name="connsiteX2" fmla="*/ 234315 w 389620"/>
                  <a:gd name="connsiteY2" fmla="*/ 120967 h 408912"/>
                  <a:gd name="connsiteX3" fmla="*/ 272415 w 389620"/>
                  <a:gd name="connsiteY3" fmla="*/ 178117 h 408912"/>
                  <a:gd name="connsiteX4" fmla="*/ 268605 w 389620"/>
                  <a:gd name="connsiteY4" fmla="*/ 199072 h 408912"/>
                  <a:gd name="connsiteX5" fmla="*/ 267653 w 389620"/>
                  <a:gd name="connsiteY5" fmla="*/ 243840 h 408912"/>
                  <a:gd name="connsiteX6" fmla="*/ 272415 w 389620"/>
                  <a:gd name="connsiteY6" fmla="*/ 257175 h 408912"/>
                  <a:gd name="connsiteX7" fmla="*/ 329565 w 389620"/>
                  <a:gd name="connsiteY7" fmla="*/ 312420 h 408912"/>
                  <a:gd name="connsiteX8" fmla="*/ 351472 w 389620"/>
                  <a:gd name="connsiteY8" fmla="*/ 339090 h 408912"/>
                  <a:gd name="connsiteX9" fmla="*/ 372428 w 389620"/>
                  <a:gd name="connsiteY9" fmla="*/ 369570 h 408912"/>
                  <a:gd name="connsiteX10" fmla="*/ 389572 w 389620"/>
                  <a:gd name="connsiteY10" fmla="*/ 392430 h 408912"/>
                  <a:gd name="connsiteX11" fmla="*/ 365760 w 389620"/>
                  <a:gd name="connsiteY11" fmla="*/ 408622 h 408912"/>
                  <a:gd name="connsiteX12" fmla="*/ 82867 w 389620"/>
                  <a:gd name="connsiteY12" fmla="*/ 408622 h 408912"/>
                  <a:gd name="connsiteX13" fmla="*/ 20002 w 389620"/>
                  <a:gd name="connsiteY13" fmla="*/ 408622 h 408912"/>
                  <a:gd name="connsiteX14" fmla="*/ 0 w 389620"/>
                  <a:gd name="connsiteY14" fmla="*/ 392430 h 408912"/>
                  <a:gd name="connsiteX15" fmla="*/ 18097 w 389620"/>
                  <a:gd name="connsiteY15" fmla="*/ 370522 h 408912"/>
                  <a:gd name="connsiteX16" fmla="*/ 40005 w 389620"/>
                  <a:gd name="connsiteY16" fmla="*/ 343853 h 408912"/>
                  <a:gd name="connsiteX17" fmla="*/ 70485 w 389620"/>
                  <a:gd name="connsiteY17" fmla="*/ 313372 h 408912"/>
                  <a:gd name="connsiteX18" fmla="*/ 116205 w 389620"/>
                  <a:gd name="connsiteY18" fmla="*/ 270510 h 408912"/>
                  <a:gd name="connsiteX19" fmla="*/ 131445 w 389620"/>
                  <a:gd name="connsiteY19" fmla="*/ 240983 h 408912"/>
                  <a:gd name="connsiteX20" fmla="*/ 137160 w 389620"/>
                  <a:gd name="connsiteY20" fmla="*/ 210503 h 408912"/>
                  <a:gd name="connsiteX21" fmla="*/ 156210 w 389620"/>
                  <a:gd name="connsiteY21" fmla="*/ 126683 h 408912"/>
                  <a:gd name="connsiteX22" fmla="*/ 186690 w 389620"/>
                  <a:gd name="connsiteY22" fmla="*/ 42863 h 408912"/>
                  <a:gd name="connsiteX23" fmla="*/ 186690 w 389620"/>
                  <a:gd name="connsiteY23" fmla="*/ 0 h 408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389620" h="408912">
                    <a:moveTo>
                      <a:pt x="186690" y="0"/>
                    </a:moveTo>
                    <a:cubicBezTo>
                      <a:pt x="207645" y="19050"/>
                      <a:pt x="200978" y="34290"/>
                      <a:pt x="201930" y="47625"/>
                    </a:cubicBezTo>
                    <a:cubicBezTo>
                      <a:pt x="203835" y="76200"/>
                      <a:pt x="195263" y="105728"/>
                      <a:pt x="234315" y="120967"/>
                    </a:cubicBezTo>
                    <a:cubicBezTo>
                      <a:pt x="254317" y="129540"/>
                      <a:pt x="249555" y="164783"/>
                      <a:pt x="272415" y="178117"/>
                    </a:cubicBezTo>
                    <a:cubicBezTo>
                      <a:pt x="274320" y="179070"/>
                      <a:pt x="272415" y="197167"/>
                      <a:pt x="268605" y="199072"/>
                    </a:cubicBezTo>
                    <a:cubicBezTo>
                      <a:pt x="238125" y="214313"/>
                      <a:pt x="240982" y="227647"/>
                      <a:pt x="267653" y="243840"/>
                    </a:cubicBezTo>
                    <a:cubicBezTo>
                      <a:pt x="270510" y="245745"/>
                      <a:pt x="273367" y="253365"/>
                      <a:pt x="272415" y="257175"/>
                    </a:cubicBezTo>
                    <a:cubicBezTo>
                      <a:pt x="263842" y="304800"/>
                      <a:pt x="285750" y="320040"/>
                      <a:pt x="329565" y="312420"/>
                    </a:cubicBezTo>
                    <a:cubicBezTo>
                      <a:pt x="351472" y="308610"/>
                      <a:pt x="352425" y="322897"/>
                      <a:pt x="351472" y="339090"/>
                    </a:cubicBezTo>
                    <a:cubicBezTo>
                      <a:pt x="350520" y="354330"/>
                      <a:pt x="346710" y="372428"/>
                      <a:pt x="372428" y="369570"/>
                    </a:cubicBezTo>
                    <a:cubicBezTo>
                      <a:pt x="390525" y="367665"/>
                      <a:pt x="389572" y="380047"/>
                      <a:pt x="389572" y="392430"/>
                    </a:cubicBezTo>
                    <a:cubicBezTo>
                      <a:pt x="390525" y="412433"/>
                      <a:pt x="377190" y="408622"/>
                      <a:pt x="365760" y="408622"/>
                    </a:cubicBezTo>
                    <a:cubicBezTo>
                      <a:pt x="271463" y="408622"/>
                      <a:pt x="177165" y="408622"/>
                      <a:pt x="82867" y="408622"/>
                    </a:cubicBezTo>
                    <a:cubicBezTo>
                      <a:pt x="61913" y="408622"/>
                      <a:pt x="40957" y="408622"/>
                      <a:pt x="20002" y="408622"/>
                    </a:cubicBezTo>
                    <a:cubicBezTo>
                      <a:pt x="7620" y="408622"/>
                      <a:pt x="0" y="406717"/>
                      <a:pt x="0" y="392430"/>
                    </a:cubicBezTo>
                    <a:cubicBezTo>
                      <a:pt x="0" y="379095"/>
                      <a:pt x="0" y="367665"/>
                      <a:pt x="18097" y="370522"/>
                    </a:cubicBezTo>
                    <a:cubicBezTo>
                      <a:pt x="40005" y="373380"/>
                      <a:pt x="41910" y="360045"/>
                      <a:pt x="40005" y="343853"/>
                    </a:cubicBezTo>
                    <a:cubicBezTo>
                      <a:pt x="36195" y="320040"/>
                      <a:pt x="45720" y="309563"/>
                      <a:pt x="70485" y="313372"/>
                    </a:cubicBezTo>
                    <a:cubicBezTo>
                      <a:pt x="103822" y="318135"/>
                      <a:pt x="122872" y="309563"/>
                      <a:pt x="116205" y="270510"/>
                    </a:cubicBezTo>
                    <a:cubicBezTo>
                      <a:pt x="114300" y="259080"/>
                      <a:pt x="111442" y="245745"/>
                      <a:pt x="131445" y="240983"/>
                    </a:cubicBezTo>
                    <a:cubicBezTo>
                      <a:pt x="144780" y="238125"/>
                      <a:pt x="141922" y="215265"/>
                      <a:pt x="137160" y="210503"/>
                    </a:cubicBezTo>
                    <a:cubicBezTo>
                      <a:pt x="91440" y="170497"/>
                      <a:pt x="142875" y="136208"/>
                      <a:pt x="156210" y="126683"/>
                    </a:cubicBezTo>
                    <a:cubicBezTo>
                      <a:pt x="191453" y="101917"/>
                      <a:pt x="185738" y="73342"/>
                      <a:pt x="186690" y="42863"/>
                    </a:cubicBezTo>
                    <a:cubicBezTo>
                      <a:pt x="186690" y="31433"/>
                      <a:pt x="186690" y="20003"/>
                      <a:pt x="186690" y="0"/>
                    </a:cubicBezTo>
                    <a:close/>
                  </a:path>
                </a:pathLst>
              </a:custGeom>
              <a:solidFill>
                <a:srgbClr val="02572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任意多边形: 形状 184"/>
              <p:cNvSpPr/>
              <p:nvPr/>
            </p:nvSpPr>
            <p:spPr>
              <a:xfrm>
                <a:off x="6061745" y="3119063"/>
                <a:ext cx="76200" cy="75247"/>
              </a:xfrm>
              <a:custGeom>
                <a:avLst/>
                <a:gdLst>
                  <a:gd name="connsiteX0" fmla="*/ 39053 w 76200"/>
                  <a:gd name="connsiteY0" fmla="*/ 0 h 75247"/>
                  <a:gd name="connsiteX1" fmla="*/ 76200 w 76200"/>
                  <a:gd name="connsiteY1" fmla="*/ 37148 h 75247"/>
                  <a:gd name="connsiteX2" fmla="*/ 36195 w 76200"/>
                  <a:gd name="connsiteY2" fmla="*/ 75248 h 75247"/>
                  <a:gd name="connsiteX3" fmla="*/ 0 w 76200"/>
                  <a:gd name="connsiteY3" fmla="*/ 37148 h 75247"/>
                  <a:gd name="connsiteX4" fmla="*/ 39053 w 76200"/>
                  <a:gd name="connsiteY4" fmla="*/ 0 h 75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6200" h="75247">
                    <a:moveTo>
                      <a:pt x="39053" y="0"/>
                    </a:moveTo>
                    <a:cubicBezTo>
                      <a:pt x="60960" y="2858"/>
                      <a:pt x="76200" y="13335"/>
                      <a:pt x="76200" y="37148"/>
                    </a:cubicBezTo>
                    <a:cubicBezTo>
                      <a:pt x="76200" y="62865"/>
                      <a:pt x="60960" y="75248"/>
                      <a:pt x="36195" y="75248"/>
                    </a:cubicBezTo>
                    <a:cubicBezTo>
                      <a:pt x="12382" y="75248"/>
                      <a:pt x="0" y="59055"/>
                      <a:pt x="0" y="37148"/>
                    </a:cubicBezTo>
                    <a:cubicBezTo>
                      <a:pt x="953" y="14288"/>
                      <a:pt x="16192" y="1905"/>
                      <a:pt x="39053" y="0"/>
                    </a:cubicBezTo>
                    <a:close/>
                  </a:path>
                </a:pathLst>
              </a:custGeom>
              <a:solidFill>
                <a:srgbClr val="10592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6" name="任意多边形: 形状 185"/>
              <p:cNvSpPr/>
              <p:nvPr/>
            </p:nvSpPr>
            <p:spPr>
              <a:xfrm>
                <a:off x="5965360" y="4316907"/>
                <a:ext cx="96688" cy="97196"/>
              </a:xfrm>
              <a:custGeom>
                <a:avLst/>
                <a:gdLst>
                  <a:gd name="connsiteX0" fmla="*/ 14469 w 96688"/>
                  <a:gd name="connsiteY0" fmla="*/ 46121 h 97196"/>
                  <a:gd name="connsiteX1" fmla="*/ 54475 w 96688"/>
                  <a:gd name="connsiteY1" fmla="*/ 1354 h 97196"/>
                  <a:gd name="connsiteX2" fmla="*/ 95432 w 96688"/>
                  <a:gd name="connsiteY2" fmla="*/ 10879 h 97196"/>
                  <a:gd name="connsiteX3" fmla="*/ 89717 w 96688"/>
                  <a:gd name="connsiteY3" fmla="*/ 91841 h 97196"/>
                  <a:gd name="connsiteX4" fmla="*/ 2087 w 96688"/>
                  <a:gd name="connsiteY4" fmla="*/ 93746 h 97196"/>
                  <a:gd name="connsiteX5" fmla="*/ 8754 w 96688"/>
                  <a:gd name="connsiteY5" fmla="*/ 74696 h 97196"/>
                  <a:gd name="connsiteX6" fmla="*/ 27804 w 96688"/>
                  <a:gd name="connsiteY6" fmla="*/ 72791 h 97196"/>
                  <a:gd name="connsiteX7" fmla="*/ 65904 w 96688"/>
                  <a:gd name="connsiteY7" fmla="*/ 60408 h 97196"/>
                  <a:gd name="connsiteX8" fmla="*/ 25900 w 96688"/>
                  <a:gd name="connsiteY8" fmla="*/ 49931 h 97196"/>
                  <a:gd name="connsiteX9" fmla="*/ 14469 w 96688"/>
                  <a:gd name="connsiteY9" fmla="*/ 46121 h 97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6688" h="97196">
                    <a:moveTo>
                      <a:pt x="14469" y="46121"/>
                    </a:moveTo>
                    <a:cubicBezTo>
                      <a:pt x="21137" y="25166"/>
                      <a:pt x="18279" y="-4361"/>
                      <a:pt x="54475" y="1354"/>
                    </a:cubicBezTo>
                    <a:cubicBezTo>
                      <a:pt x="68762" y="4211"/>
                      <a:pt x="92575" y="-8171"/>
                      <a:pt x="95432" y="10879"/>
                    </a:cubicBezTo>
                    <a:cubicBezTo>
                      <a:pt x="99242" y="36596"/>
                      <a:pt x="93527" y="65171"/>
                      <a:pt x="89717" y="91841"/>
                    </a:cubicBezTo>
                    <a:cubicBezTo>
                      <a:pt x="88764" y="97556"/>
                      <a:pt x="4944" y="99461"/>
                      <a:pt x="2087" y="93746"/>
                    </a:cubicBezTo>
                    <a:cubicBezTo>
                      <a:pt x="-1723" y="86126"/>
                      <a:pt x="-771" y="77554"/>
                      <a:pt x="8754" y="74696"/>
                    </a:cubicBezTo>
                    <a:cubicBezTo>
                      <a:pt x="14469" y="72791"/>
                      <a:pt x="22089" y="74696"/>
                      <a:pt x="27804" y="72791"/>
                    </a:cubicBezTo>
                    <a:cubicBezTo>
                      <a:pt x="41139" y="68981"/>
                      <a:pt x="66857" y="82316"/>
                      <a:pt x="65904" y="60408"/>
                    </a:cubicBezTo>
                    <a:cubicBezTo>
                      <a:pt x="64952" y="41358"/>
                      <a:pt x="40187" y="53741"/>
                      <a:pt x="25900" y="49931"/>
                    </a:cubicBezTo>
                    <a:cubicBezTo>
                      <a:pt x="23042" y="49931"/>
                      <a:pt x="19232" y="48026"/>
                      <a:pt x="14469" y="46121"/>
                    </a:cubicBezTo>
                    <a:close/>
                  </a:path>
                </a:pathLst>
              </a:custGeom>
              <a:solidFill>
                <a:srgbClr val="17542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7" name="任意多边形: 形状 186"/>
              <p:cNvSpPr/>
              <p:nvPr/>
            </p:nvSpPr>
            <p:spPr>
              <a:xfrm>
                <a:off x="6097723" y="4318373"/>
                <a:ext cx="92037" cy="95900"/>
              </a:xfrm>
              <a:custGeom>
                <a:avLst/>
                <a:gdLst>
                  <a:gd name="connsiteX0" fmla="*/ 55462 w 92037"/>
                  <a:gd name="connsiteY0" fmla="*/ 69420 h 95900"/>
                  <a:gd name="connsiteX1" fmla="*/ 91657 w 92037"/>
                  <a:gd name="connsiteY1" fmla="*/ 95138 h 95900"/>
                  <a:gd name="connsiteX2" fmla="*/ 22124 w 92037"/>
                  <a:gd name="connsiteY2" fmla="*/ 95138 h 95900"/>
                  <a:gd name="connsiteX3" fmla="*/ 217 w 92037"/>
                  <a:gd name="connsiteY3" fmla="*/ 85613 h 95900"/>
                  <a:gd name="connsiteX4" fmla="*/ 11647 w 92037"/>
                  <a:gd name="connsiteY4" fmla="*/ 62753 h 95900"/>
                  <a:gd name="connsiteX5" fmla="*/ 34507 w 92037"/>
                  <a:gd name="connsiteY5" fmla="*/ 48466 h 95900"/>
                  <a:gd name="connsiteX6" fmla="*/ 47842 w 92037"/>
                  <a:gd name="connsiteY6" fmla="*/ 28463 h 95900"/>
                  <a:gd name="connsiteX7" fmla="*/ 23077 w 92037"/>
                  <a:gd name="connsiteY7" fmla="*/ 27511 h 95900"/>
                  <a:gd name="connsiteX8" fmla="*/ 3074 w 92037"/>
                  <a:gd name="connsiteY8" fmla="*/ 29416 h 95900"/>
                  <a:gd name="connsiteX9" fmla="*/ 217 w 92037"/>
                  <a:gd name="connsiteY9" fmla="*/ 11318 h 95900"/>
                  <a:gd name="connsiteX10" fmla="*/ 17362 w 92037"/>
                  <a:gd name="connsiteY10" fmla="*/ 841 h 95900"/>
                  <a:gd name="connsiteX11" fmla="*/ 77369 w 92037"/>
                  <a:gd name="connsiteY11" fmla="*/ 28463 h 95900"/>
                  <a:gd name="connsiteX12" fmla="*/ 55462 w 92037"/>
                  <a:gd name="connsiteY12" fmla="*/ 69420 h 95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2037" h="95900">
                    <a:moveTo>
                      <a:pt x="55462" y="69420"/>
                    </a:moveTo>
                    <a:cubicBezTo>
                      <a:pt x="69749" y="77041"/>
                      <a:pt x="95467" y="62753"/>
                      <a:pt x="91657" y="95138"/>
                    </a:cubicBezTo>
                    <a:cubicBezTo>
                      <a:pt x="68797" y="95138"/>
                      <a:pt x="44984" y="95138"/>
                      <a:pt x="22124" y="95138"/>
                    </a:cubicBezTo>
                    <a:cubicBezTo>
                      <a:pt x="14504" y="95138"/>
                      <a:pt x="2122" y="99901"/>
                      <a:pt x="217" y="85613"/>
                    </a:cubicBezTo>
                    <a:cubicBezTo>
                      <a:pt x="-736" y="76088"/>
                      <a:pt x="1169" y="67516"/>
                      <a:pt x="11647" y="62753"/>
                    </a:cubicBezTo>
                    <a:cubicBezTo>
                      <a:pt x="20219" y="58943"/>
                      <a:pt x="27839" y="53228"/>
                      <a:pt x="34507" y="48466"/>
                    </a:cubicBezTo>
                    <a:cubicBezTo>
                      <a:pt x="42127" y="43703"/>
                      <a:pt x="53557" y="38941"/>
                      <a:pt x="47842" y="28463"/>
                    </a:cubicBezTo>
                    <a:cubicBezTo>
                      <a:pt x="42127" y="17033"/>
                      <a:pt x="31649" y="17986"/>
                      <a:pt x="23077" y="27511"/>
                    </a:cubicBezTo>
                    <a:cubicBezTo>
                      <a:pt x="17362" y="33226"/>
                      <a:pt x="8789" y="36083"/>
                      <a:pt x="3074" y="29416"/>
                    </a:cubicBezTo>
                    <a:cubicBezTo>
                      <a:pt x="-736" y="25605"/>
                      <a:pt x="217" y="17033"/>
                      <a:pt x="217" y="11318"/>
                    </a:cubicBezTo>
                    <a:cubicBezTo>
                      <a:pt x="1169" y="841"/>
                      <a:pt x="9742" y="-112"/>
                      <a:pt x="17362" y="841"/>
                    </a:cubicBezTo>
                    <a:cubicBezTo>
                      <a:pt x="40222" y="3698"/>
                      <a:pt x="70702" y="-12495"/>
                      <a:pt x="77369" y="28463"/>
                    </a:cubicBezTo>
                    <a:cubicBezTo>
                      <a:pt x="82132" y="50370"/>
                      <a:pt x="62129" y="53228"/>
                      <a:pt x="55462" y="69420"/>
                    </a:cubicBezTo>
                    <a:close/>
                  </a:path>
                </a:pathLst>
              </a:custGeom>
              <a:solidFill>
                <a:srgbClr val="18583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8" name="任意多边形: 形状 187"/>
              <p:cNvSpPr/>
              <p:nvPr/>
            </p:nvSpPr>
            <p:spPr>
              <a:xfrm>
                <a:off x="6217899" y="4318885"/>
                <a:ext cx="99166" cy="95703"/>
              </a:xfrm>
              <a:custGeom>
                <a:avLst/>
                <a:gdLst>
                  <a:gd name="connsiteX0" fmla="*/ 97211 w 99166"/>
                  <a:gd name="connsiteY0" fmla="*/ 70813 h 95703"/>
                  <a:gd name="connsiteX1" fmla="*/ 93400 w 99166"/>
                  <a:gd name="connsiteY1" fmla="*/ 92721 h 95703"/>
                  <a:gd name="connsiteX2" fmla="*/ 64825 w 99166"/>
                  <a:gd name="connsiteY2" fmla="*/ 87958 h 95703"/>
                  <a:gd name="connsiteX3" fmla="*/ 26725 w 99166"/>
                  <a:gd name="connsiteY3" fmla="*/ 70813 h 95703"/>
                  <a:gd name="connsiteX4" fmla="*/ 55 w 99166"/>
                  <a:gd name="connsiteY4" fmla="*/ 49858 h 95703"/>
                  <a:gd name="connsiteX5" fmla="*/ 27678 w 99166"/>
                  <a:gd name="connsiteY5" fmla="*/ 2233 h 95703"/>
                  <a:gd name="connsiteX6" fmla="*/ 57205 w 99166"/>
                  <a:gd name="connsiteY6" fmla="*/ 20331 h 95703"/>
                  <a:gd name="connsiteX7" fmla="*/ 84828 w 99166"/>
                  <a:gd name="connsiteY7" fmla="*/ 48906 h 95703"/>
                  <a:gd name="connsiteX8" fmla="*/ 97211 w 99166"/>
                  <a:gd name="connsiteY8" fmla="*/ 70813 h 957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9166" h="95703">
                    <a:moveTo>
                      <a:pt x="97211" y="70813"/>
                    </a:moveTo>
                    <a:cubicBezTo>
                      <a:pt x="85780" y="77481"/>
                      <a:pt x="104830" y="88911"/>
                      <a:pt x="93400" y="92721"/>
                    </a:cubicBezTo>
                    <a:cubicBezTo>
                      <a:pt x="84828" y="95578"/>
                      <a:pt x="68636" y="99388"/>
                      <a:pt x="64825" y="87958"/>
                    </a:cubicBezTo>
                    <a:cubicBezTo>
                      <a:pt x="57205" y="67003"/>
                      <a:pt x="41965" y="68908"/>
                      <a:pt x="26725" y="70813"/>
                    </a:cubicBezTo>
                    <a:cubicBezTo>
                      <a:pt x="10533" y="71766"/>
                      <a:pt x="-897" y="65098"/>
                      <a:pt x="55" y="49858"/>
                    </a:cubicBezTo>
                    <a:cubicBezTo>
                      <a:pt x="1008" y="29856"/>
                      <a:pt x="9580" y="10806"/>
                      <a:pt x="27678" y="2233"/>
                    </a:cubicBezTo>
                    <a:cubicBezTo>
                      <a:pt x="41965" y="-5387"/>
                      <a:pt x="50538" y="7948"/>
                      <a:pt x="57205" y="20331"/>
                    </a:cubicBezTo>
                    <a:cubicBezTo>
                      <a:pt x="62920" y="32713"/>
                      <a:pt x="65778" y="47953"/>
                      <a:pt x="84828" y="48906"/>
                    </a:cubicBezTo>
                    <a:cubicBezTo>
                      <a:pt x="95305" y="48906"/>
                      <a:pt x="102925" y="58431"/>
                      <a:pt x="97211" y="70813"/>
                    </a:cubicBezTo>
                    <a:close/>
                  </a:path>
                </a:pathLst>
              </a:custGeom>
              <a:solidFill>
                <a:srgbClr val="165A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9" name="任意多边形: 形状 188"/>
              <p:cNvSpPr/>
              <p:nvPr/>
            </p:nvSpPr>
            <p:spPr>
              <a:xfrm>
                <a:off x="5885532" y="4318156"/>
                <a:ext cx="64806" cy="95513"/>
              </a:xfrm>
              <a:custGeom>
                <a:avLst/>
                <a:gdLst>
                  <a:gd name="connsiteX0" fmla="*/ 0 w 64806"/>
                  <a:gd name="connsiteY0" fmla="*/ 91545 h 95513"/>
                  <a:gd name="connsiteX1" fmla="*/ 36195 w 64806"/>
                  <a:gd name="connsiteY1" fmla="*/ 10582 h 95513"/>
                  <a:gd name="connsiteX2" fmla="*/ 59055 w 64806"/>
                  <a:gd name="connsiteY2" fmla="*/ 1057 h 95513"/>
                  <a:gd name="connsiteX3" fmla="*/ 60960 w 64806"/>
                  <a:gd name="connsiteY3" fmla="*/ 21059 h 95513"/>
                  <a:gd name="connsiteX4" fmla="*/ 45720 w 64806"/>
                  <a:gd name="connsiteY4" fmla="*/ 68684 h 95513"/>
                  <a:gd name="connsiteX5" fmla="*/ 0 w 64806"/>
                  <a:gd name="connsiteY5" fmla="*/ 91545 h 95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806" h="95513">
                    <a:moveTo>
                      <a:pt x="0" y="91545"/>
                    </a:moveTo>
                    <a:cubicBezTo>
                      <a:pt x="12382" y="63922"/>
                      <a:pt x="23813" y="37252"/>
                      <a:pt x="36195" y="10582"/>
                    </a:cubicBezTo>
                    <a:cubicBezTo>
                      <a:pt x="40957" y="1057"/>
                      <a:pt x="50482" y="-1800"/>
                      <a:pt x="59055" y="1057"/>
                    </a:cubicBezTo>
                    <a:cubicBezTo>
                      <a:pt x="69532" y="4867"/>
                      <a:pt x="62865" y="14392"/>
                      <a:pt x="60960" y="21059"/>
                    </a:cubicBezTo>
                    <a:cubicBezTo>
                      <a:pt x="56197" y="37252"/>
                      <a:pt x="48577" y="52492"/>
                      <a:pt x="45720" y="68684"/>
                    </a:cubicBezTo>
                    <a:cubicBezTo>
                      <a:pt x="39052" y="93450"/>
                      <a:pt x="26670" y="101070"/>
                      <a:pt x="0" y="91545"/>
                    </a:cubicBezTo>
                    <a:close/>
                  </a:path>
                </a:pathLst>
              </a:custGeom>
              <a:solidFill>
                <a:srgbClr val="1B5B3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0" name="任意多边形: 形状 189"/>
              <p:cNvSpPr/>
              <p:nvPr/>
            </p:nvSpPr>
            <p:spPr>
              <a:xfrm>
                <a:off x="6032432" y="3288609"/>
                <a:ext cx="131229" cy="330517"/>
              </a:xfrm>
              <a:custGeom>
                <a:avLst/>
                <a:gdLst>
                  <a:gd name="connsiteX0" fmla="*/ 3595 w 131229"/>
                  <a:gd name="connsiteY0" fmla="*/ 172403 h 330517"/>
                  <a:gd name="connsiteX1" fmla="*/ 2642 w 131229"/>
                  <a:gd name="connsiteY1" fmla="*/ 90488 h 330517"/>
                  <a:gd name="connsiteX2" fmla="*/ 56935 w 131229"/>
                  <a:gd name="connsiteY2" fmla="*/ 2857 h 330517"/>
                  <a:gd name="connsiteX3" fmla="*/ 68365 w 131229"/>
                  <a:gd name="connsiteY3" fmla="*/ 0 h 330517"/>
                  <a:gd name="connsiteX4" fmla="*/ 126467 w 131229"/>
                  <a:gd name="connsiteY4" fmla="*/ 27622 h 330517"/>
                  <a:gd name="connsiteX5" fmla="*/ 130277 w 131229"/>
                  <a:gd name="connsiteY5" fmla="*/ 63818 h 330517"/>
                  <a:gd name="connsiteX6" fmla="*/ 131230 w 131229"/>
                  <a:gd name="connsiteY6" fmla="*/ 300038 h 330517"/>
                  <a:gd name="connsiteX7" fmla="*/ 100750 w 131229"/>
                  <a:gd name="connsiteY7" fmla="*/ 330518 h 330517"/>
                  <a:gd name="connsiteX8" fmla="*/ 4547 w 131229"/>
                  <a:gd name="connsiteY8" fmla="*/ 235268 h 330517"/>
                  <a:gd name="connsiteX9" fmla="*/ 3595 w 131229"/>
                  <a:gd name="connsiteY9" fmla="*/ 172403 h 330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1229" h="330517">
                    <a:moveTo>
                      <a:pt x="3595" y="172403"/>
                    </a:moveTo>
                    <a:cubicBezTo>
                      <a:pt x="3595" y="144780"/>
                      <a:pt x="8357" y="116205"/>
                      <a:pt x="2642" y="90488"/>
                    </a:cubicBezTo>
                    <a:cubicBezTo>
                      <a:pt x="-9740" y="40005"/>
                      <a:pt x="23597" y="22860"/>
                      <a:pt x="56935" y="2857"/>
                    </a:cubicBezTo>
                    <a:cubicBezTo>
                      <a:pt x="59792" y="953"/>
                      <a:pt x="64555" y="0"/>
                      <a:pt x="68365" y="0"/>
                    </a:cubicBezTo>
                    <a:cubicBezTo>
                      <a:pt x="90272" y="2857"/>
                      <a:pt x="99797" y="30480"/>
                      <a:pt x="126467" y="27622"/>
                    </a:cubicBezTo>
                    <a:cubicBezTo>
                      <a:pt x="132182" y="26670"/>
                      <a:pt x="130277" y="51435"/>
                      <a:pt x="130277" y="63818"/>
                    </a:cubicBezTo>
                    <a:cubicBezTo>
                      <a:pt x="130277" y="142875"/>
                      <a:pt x="129325" y="220980"/>
                      <a:pt x="131230" y="300038"/>
                    </a:cubicBezTo>
                    <a:cubicBezTo>
                      <a:pt x="131230" y="323850"/>
                      <a:pt x="125515" y="330518"/>
                      <a:pt x="100750" y="330518"/>
                    </a:cubicBezTo>
                    <a:cubicBezTo>
                      <a:pt x="4547" y="330518"/>
                      <a:pt x="4547" y="331470"/>
                      <a:pt x="4547" y="235268"/>
                    </a:cubicBezTo>
                    <a:cubicBezTo>
                      <a:pt x="3595" y="214313"/>
                      <a:pt x="3595" y="193357"/>
                      <a:pt x="3595" y="172403"/>
                    </a:cubicBezTo>
                    <a:close/>
                  </a:path>
                </a:pathLst>
              </a:custGeom>
              <a:solidFill>
                <a:srgbClr val="F9FDF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1" name="任意多边形: 形状 190"/>
              <p:cNvSpPr/>
              <p:nvPr/>
            </p:nvSpPr>
            <p:spPr>
              <a:xfrm>
                <a:off x="6035074" y="3656547"/>
                <a:ext cx="127635" cy="64800"/>
              </a:xfrm>
              <a:custGeom>
                <a:avLst/>
                <a:gdLst>
                  <a:gd name="connsiteX0" fmla="*/ 67628 w 127635"/>
                  <a:gd name="connsiteY0" fmla="*/ 1631 h 64800"/>
                  <a:gd name="connsiteX1" fmla="*/ 95250 w 127635"/>
                  <a:gd name="connsiteY1" fmla="*/ 1631 h 64800"/>
                  <a:gd name="connsiteX2" fmla="*/ 127635 w 127635"/>
                  <a:gd name="connsiteY2" fmla="*/ 33064 h 64800"/>
                  <a:gd name="connsiteX3" fmla="*/ 94298 w 127635"/>
                  <a:gd name="connsiteY3" fmla="*/ 64496 h 64800"/>
                  <a:gd name="connsiteX4" fmla="*/ 31433 w 127635"/>
                  <a:gd name="connsiteY4" fmla="*/ 64496 h 64800"/>
                  <a:gd name="connsiteX5" fmla="*/ 0 w 127635"/>
                  <a:gd name="connsiteY5" fmla="*/ 34016 h 64800"/>
                  <a:gd name="connsiteX6" fmla="*/ 32385 w 127635"/>
                  <a:gd name="connsiteY6" fmla="*/ 679 h 64800"/>
                  <a:gd name="connsiteX7" fmla="*/ 67628 w 127635"/>
                  <a:gd name="connsiteY7" fmla="*/ 1631 h 64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7635" h="64800">
                    <a:moveTo>
                      <a:pt x="67628" y="1631"/>
                    </a:moveTo>
                    <a:cubicBezTo>
                      <a:pt x="77153" y="1631"/>
                      <a:pt x="85725" y="2584"/>
                      <a:pt x="95250" y="1631"/>
                    </a:cubicBezTo>
                    <a:cubicBezTo>
                      <a:pt x="120968" y="-2179"/>
                      <a:pt x="127635" y="7346"/>
                      <a:pt x="127635" y="33064"/>
                    </a:cubicBezTo>
                    <a:cubicBezTo>
                      <a:pt x="127635" y="59734"/>
                      <a:pt x="119063" y="66401"/>
                      <a:pt x="94298" y="64496"/>
                    </a:cubicBezTo>
                    <a:cubicBezTo>
                      <a:pt x="73343" y="62591"/>
                      <a:pt x="52388" y="62591"/>
                      <a:pt x="31433" y="64496"/>
                    </a:cubicBezTo>
                    <a:cubicBezTo>
                      <a:pt x="7620" y="66401"/>
                      <a:pt x="0" y="59734"/>
                      <a:pt x="0" y="34016"/>
                    </a:cubicBezTo>
                    <a:cubicBezTo>
                      <a:pt x="0" y="9251"/>
                      <a:pt x="5715" y="-3131"/>
                      <a:pt x="32385" y="679"/>
                    </a:cubicBezTo>
                    <a:cubicBezTo>
                      <a:pt x="43815" y="2584"/>
                      <a:pt x="56198" y="1631"/>
                      <a:pt x="67628" y="1631"/>
                    </a:cubicBezTo>
                    <a:close/>
                  </a:path>
                </a:pathLst>
              </a:custGeom>
              <a:solidFill>
                <a:srgbClr val="F9FD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2" name="任意多边形: 形状 191"/>
              <p:cNvSpPr/>
              <p:nvPr/>
            </p:nvSpPr>
            <p:spPr>
              <a:xfrm>
                <a:off x="6111787" y="2857009"/>
                <a:ext cx="28062" cy="67774"/>
              </a:xfrm>
              <a:custGeom>
                <a:avLst/>
                <a:gdLst>
                  <a:gd name="connsiteX0" fmla="*/ 28062 w 28062"/>
                  <a:gd name="connsiteY0" fmla="*/ 31549 h 67774"/>
                  <a:gd name="connsiteX1" fmla="*/ 13775 w 28062"/>
                  <a:gd name="connsiteY1" fmla="*/ 67744 h 67774"/>
                  <a:gd name="connsiteX2" fmla="*/ 3298 w 28062"/>
                  <a:gd name="connsiteY2" fmla="*/ 37264 h 67774"/>
                  <a:gd name="connsiteX3" fmla="*/ 14728 w 28062"/>
                  <a:gd name="connsiteY3" fmla="*/ 117 h 67774"/>
                  <a:gd name="connsiteX4" fmla="*/ 28062 w 28062"/>
                  <a:gd name="connsiteY4" fmla="*/ 31549 h 677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8062" h="67774">
                    <a:moveTo>
                      <a:pt x="28062" y="31549"/>
                    </a:moveTo>
                    <a:cubicBezTo>
                      <a:pt x="19490" y="42027"/>
                      <a:pt x="40445" y="66792"/>
                      <a:pt x="13775" y="67744"/>
                    </a:cubicBezTo>
                    <a:cubicBezTo>
                      <a:pt x="-6227" y="68697"/>
                      <a:pt x="2345" y="46789"/>
                      <a:pt x="3298" y="37264"/>
                    </a:cubicBezTo>
                    <a:cubicBezTo>
                      <a:pt x="5203" y="24882"/>
                      <a:pt x="-10990" y="1069"/>
                      <a:pt x="14728" y="117"/>
                    </a:cubicBezTo>
                    <a:cubicBezTo>
                      <a:pt x="36635" y="-1788"/>
                      <a:pt x="22348" y="20119"/>
                      <a:pt x="28062" y="31549"/>
                    </a:cubicBezTo>
                    <a:close/>
                  </a:path>
                </a:pathLst>
              </a:custGeom>
              <a:solidFill>
                <a:srgbClr val="EDFEF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3" name="任意多边形: 形状 192"/>
              <p:cNvSpPr/>
              <p:nvPr/>
            </p:nvSpPr>
            <p:spPr>
              <a:xfrm>
                <a:off x="6056933" y="2856890"/>
                <a:ext cx="27274" cy="67890"/>
              </a:xfrm>
              <a:custGeom>
                <a:avLst/>
                <a:gdLst>
                  <a:gd name="connsiteX0" fmla="*/ 26719 w 27274"/>
                  <a:gd name="connsiteY0" fmla="*/ 35479 h 67890"/>
                  <a:gd name="connsiteX1" fmla="*/ 16241 w 27274"/>
                  <a:gd name="connsiteY1" fmla="*/ 67864 h 67890"/>
                  <a:gd name="connsiteX2" fmla="*/ 3859 w 27274"/>
                  <a:gd name="connsiteY2" fmla="*/ 31669 h 67890"/>
                  <a:gd name="connsiteX3" fmla="*/ 16241 w 27274"/>
                  <a:gd name="connsiteY3" fmla="*/ 236 h 67890"/>
                  <a:gd name="connsiteX4" fmla="*/ 26719 w 27274"/>
                  <a:gd name="connsiteY4" fmla="*/ 35479 h 678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274" h="67890">
                    <a:moveTo>
                      <a:pt x="26719" y="35479"/>
                    </a:moveTo>
                    <a:cubicBezTo>
                      <a:pt x="21956" y="46909"/>
                      <a:pt x="35291" y="66911"/>
                      <a:pt x="16241" y="67864"/>
                    </a:cubicBezTo>
                    <a:cubicBezTo>
                      <a:pt x="-11381" y="68816"/>
                      <a:pt x="4811" y="44051"/>
                      <a:pt x="3859" y="31669"/>
                    </a:cubicBezTo>
                    <a:cubicBezTo>
                      <a:pt x="2906" y="21191"/>
                      <a:pt x="-7572" y="-2621"/>
                      <a:pt x="16241" y="236"/>
                    </a:cubicBezTo>
                    <a:cubicBezTo>
                      <a:pt x="36244" y="2141"/>
                      <a:pt x="21956" y="24049"/>
                      <a:pt x="26719" y="35479"/>
                    </a:cubicBezTo>
                    <a:close/>
                  </a:path>
                </a:pathLst>
              </a:custGeom>
              <a:solidFill>
                <a:srgbClr val="ECFEF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4" name="任意多边形: 形状 193"/>
              <p:cNvSpPr/>
              <p:nvPr/>
            </p:nvSpPr>
            <p:spPr>
              <a:xfrm>
                <a:off x="6083652" y="3375206"/>
                <a:ext cx="32384" cy="180102"/>
              </a:xfrm>
              <a:custGeom>
                <a:avLst/>
                <a:gdLst>
                  <a:gd name="connsiteX0" fmla="*/ 32385 w 32384"/>
                  <a:gd name="connsiteY0" fmla="*/ 90568 h 180102"/>
                  <a:gd name="connsiteX1" fmla="*/ 32385 w 32384"/>
                  <a:gd name="connsiteY1" fmla="*/ 161053 h 180102"/>
                  <a:gd name="connsiteX2" fmla="*/ 18097 w 32384"/>
                  <a:gd name="connsiteY2" fmla="*/ 180103 h 180102"/>
                  <a:gd name="connsiteX3" fmla="*/ 0 w 32384"/>
                  <a:gd name="connsiteY3" fmla="*/ 160100 h 180102"/>
                  <a:gd name="connsiteX4" fmla="*/ 0 w 32384"/>
                  <a:gd name="connsiteY4" fmla="*/ 19130 h 180102"/>
                  <a:gd name="connsiteX5" fmla="*/ 19050 w 32384"/>
                  <a:gd name="connsiteY5" fmla="*/ 80 h 180102"/>
                  <a:gd name="connsiteX6" fmla="*/ 32385 w 32384"/>
                  <a:gd name="connsiteY6" fmla="*/ 20083 h 180102"/>
                  <a:gd name="connsiteX7" fmla="*/ 32385 w 32384"/>
                  <a:gd name="connsiteY7" fmla="*/ 90568 h 180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2384" h="180102">
                    <a:moveTo>
                      <a:pt x="32385" y="90568"/>
                    </a:moveTo>
                    <a:cubicBezTo>
                      <a:pt x="32385" y="114380"/>
                      <a:pt x="32385" y="137240"/>
                      <a:pt x="32385" y="161053"/>
                    </a:cubicBezTo>
                    <a:cubicBezTo>
                      <a:pt x="32385" y="170578"/>
                      <a:pt x="31433" y="180103"/>
                      <a:pt x="18097" y="180103"/>
                    </a:cubicBezTo>
                    <a:cubicBezTo>
                      <a:pt x="4763" y="180103"/>
                      <a:pt x="0" y="172483"/>
                      <a:pt x="0" y="160100"/>
                    </a:cubicBezTo>
                    <a:cubicBezTo>
                      <a:pt x="0" y="113427"/>
                      <a:pt x="0" y="65802"/>
                      <a:pt x="0" y="19130"/>
                    </a:cubicBezTo>
                    <a:cubicBezTo>
                      <a:pt x="0" y="6747"/>
                      <a:pt x="5715" y="-873"/>
                      <a:pt x="19050" y="80"/>
                    </a:cubicBezTo>
                    <a:cubicBezTo>
                      <a:pt x="31433" y="1033"/>
                      <a:pt x="32385" y="10558"/>
                      <a:pt x="32385" y="20083"/>
                    </a:cubicBezTo>
                    <a:cubicBezTo>
                      <a:pt x="32385" y="43895"/>
                      <a:pt x="32385" y="66755"/>
                      <a:pt x="32385" y="90568"/>
                    </a:cubicBezTo>
                    <a:close/>
                  </a:path>
                </a:pathLst>
              </a:custGeom>
              <a:solidFill>
                <a:srgbClr val="0755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  <p:sp>
        <p:nvSpPr>
          <p:cNvPr id="10" name="矩形: 圆角 3"/>
          <p:cNvSpPr/>
          <p:nvPr userDrawn="1"/>
        </p:nvSpPr>
        <p:spPr>
          <a:xfrm>
            <a:off x="0" y="2540"/>
            <a:ext cx="2595880" cy="337185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84E78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药品基本信息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184E78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1/2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184E78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5410" y="2540"/>
            <a:ext cx="1698625" cy="43688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  <p:sp>
        <p:nvSpPr>
          <p:cNvPr id="10" name="矩形: 圆角 3"/>
          <p:cNvSpPr/>
          <p:nvPr userDrawn="1"/>
        </p:nvSpPr>
        <p:spPr>
          <a:xfrm>
            <a:off x="0" y="2540"/>
            <a:ext cx="2595880" cy="337185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84E78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药品基本信息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184E78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1/2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184E78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5410" y="2540"/>
            <a:ext cx="1698625" cy="43688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</a:fld>
            <a:endParaRPr lang="ja-JP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r>
              <a:rPr lang="en-US" altLang="ja-JP" sz="900" dirty="0">
                <a:solidFill>
                  <a:schemeClr val="bg1">
                    <a:lumMod val="50000"/>
                  </a:schemeClr>
                </a:solidFill>
              </a:rPr>
              <a:t>    | Takeda China Aspiration Report | 12/13/2019 | Confidential for Internal Use Only</a:t>
            </a:r>
            <a:endParaRPr lang="ja-JP" alt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スライド番号プレースホルダ 5"/>
          <p:cNvSpPr txBox="1"/>
          <p:nvPr userDrawn="1"/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anose="020F0502020204030204" charset="0"/>
                <a:ea typeface="メイリオ" panose="020B0604030504040204" pitchFamily="34" charset="-128"/>
                <a:cs typeface="Calibri" panose="020F050202020403020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</a:fld>
            <a:endParaRPr lang="ja-JP" alt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  <p:sp>
        <p:nvSpPr>
          <p:cNvPr id="5" name="椭圆 4"/>
          <p:cNvSpPr/>
          <p:nvPr userDrawn="1"/>
        </p:nvSpPr>
        <p:spPr>
          <a:xfrm>
            <a:off x="7938267" y="5492816"/>
            <a:ext cx="349184" cy="349184"/>
          </a:xfrm>
          <a:prstGeom prst="ellipse">
            <a:avLst/>
          </a:prstGeom>
          <a:solidFill>
            <a:srgbClr val="DF36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任意多边形: 形状 5"/>
          <p:cNvSpPr/>
          <p:nvPr userDrawn="1"/>
        </p:nvSpPr>
        <p:spPr>
          <a:xfrm>
            <a:off x="9674920" y="3907786"/>
            <a:ext cx="2517080" cy="2950214"/>
          </a:xfrm>
          <a:custGeom>
            <a:avLst/>
            <a:gdLst>
              <a:gd name="connsiteX0" fmla="*/ 2517080 w 2517080"/>
              <a:gd name="connsiteY0" fmla="*/ 0 h 2950214"/>
              <a:gd name="connsiteX1" fmla="*/ 2517080 w 2517080"/>
              <a:gd name="connsiteY1" fmla="*/ 768767 h 2950214"/>
              <a:gd name="connsiteX2" fmla="*/ 2517079 w 2517080"/>
              <a:gd name="connsiteY2" fmla="*/ 768767 h 2950214"/>
              <a:gd name="connsiteX3" fmla="*/ 768766 w 2517080"/>
              <a:gd name="connsiteY3" fmla="*/ 2517080 h 2950214"/>
              <a:gd name="connsiteX4" fmla="*/ 804286 w 2517080"/>
              <a:gd name="connsiteY4" fmla="*/ 2869426 h 2950214"/>
              <a:gd name="connsiteX5" fmla="*/ 825058 w 2517080"/>
              <a:gd name="connsiteY5" fmla="*/ 2950214 h 2950214"/>
              <a:gd name="connsiteX6" fmla="*/ 39822 w 2517080"/>
              <a:gd name="connsiteY6" fmla="*/ 2950214 h 2950214"/>
              <a:gd name="connsiteX7" fmla="*/ 12996 w 2517080"/>
              <a:gd name="connsiteY7" fmla="*/ 2774437 h 2950214"/>
              <a:gd name="connsiteX8" fmla="*/ 0 w 2517080"/>
              <a:gd name="connsiteY8" fmla="*/ 2517080 h 2950214"/>
              <a:gd name="connsiteX9" fmla="*/ 2517080 w 2517080"/>
              <a:gd name="connsiteY9" fmla="*/ 0 h 2950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17080" h="2950214">
                <a:moveTo>
                  <a:pt x="2517080" y="0"/>
                </a:moveTo>
                <a:lnTo>
                  <a:pt x="2517080" y="768767"/>
                </a:lnTo>
                <a:lnTo>
                  <a:pt x="2517079" y="768767"/>
                </a:lnTo>
                <a:cubicBezTo>
                  <a:pt x="1551512" y="768767"/>
                  <a:pt x="768766" y="1551513"/>
                  <a:pt x="768766" y="2517080"/>
                </a:cubicBezTo>
                <a:cubicBezTo>
                  <a:pt x="768766" y="2637776"/>
                  <a:pt x="780996" y="2755615"/>
                  <a:pt x="804286" y="2869426"/>
                </a:cubicBezTo>
                <a:lnTo>
                  <a:pt x="825058" y="2950214"/>
                </a:lnTo>
                <a:lnTo>
                  <a:pt x="39822" y="2950214"/>
                </a:lnTo>
                <a:lnTo>
                  <a:pt x="12996" y="2774437"/>
                </a:lnTo>
                <a:cubicBezTo>
                  <a:pt x="4402" y="2689820"/>
                  <a:pt x="0" y="2603964"/>
                  <a:pt x="0" y="2517080"/>
                </a:cubicBezTo>
                <a:cubicBezTo>
                  <a:pt x="0" y="1126935"/>
                  <a:pt x="1126935" y="0"/>
                  <a:pt x="2517080" y="0"/>
                </a:cubicBezTo>
                <a:close/>
              </a:path>
            </a:pathLst>
          </a:custGeom>
          <a:solidFill>
            <a:srgbClr val="DF36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椭圆 6"/>
          <p:cNvSpPr/>
          <p:nvPr userDrawn="1"/>
        </p:nvSpPr>
        <p:spPr>
          <a:xfrm>
            <a:off x="6949440" y="1016000"/>
            <a:ext cx="4572000" cy="4572000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pic>
        <p:nvPicPr>
          <p:cNvPr id="8" name="图片 7" descr="图片包含 户外, 日落, 太阳, 男人&#10;&#10;描述已自动生成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>
          <a:xfrm>
            <a:off x="7249181" y="1315741"/>
            <a:ext cx="3972518" cy="3972518"/>
          </a:xfrm>
          <a:prstGeom prst="ellipse">
            <a:avLst/>
          </a:prstGeom>
        </p:spPr>
      </p:pic>
      <p:grpSp>
        <p:nvGrpSpPr>
          <p:cNvPr id="9" name="组合 8"/>
          <p:cNvGrpSpPr/>
          <p:nvPr userDrawn="1"/>
        </p:nvGrpSpPr>
        <p:grpSpPr>
          <a:xfrm>
            <a:off x="11064409" y="1436258"/>
            <a:ext cx="645125" cy="498490"/>
            <a:chOff x="3948714" y="869492"/>
            <a:chExt cx="1065329" cy="823183"/>
          </a:xfrm>
        </p:grpSpPr>
        <p:sp>
          <p:nvSpPr>
            <p:cNvPr id="10" name="椭圆 9"/>
            <p:cNvSpPr/>
            <p:nvPr/>
          </p:nvSpPr>
          <p:spPr>
            <a:xfrm>
              <a:off x="4199851" y="1017360"/>
              <a:ext cx="515442" cy="515442"/>
            </a:xfrm>
            <a:prstGeom prst="ellipse">
              <a:avLst/>
            </a:prstGeom>
            <a:solidFill>
              <a:srgbClr val="DF363A"/>
            </a:solidFill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cxnSp>
          <p:nvCxnSpPr>
            <p:cNvPr id="11" name="直接连接符 10"/>
            <p:cNvCxnSpPr/>
            <p:nvPr/>
          </p:nvCxnSpPr>
          <p:spPr>
            <a:xfrm flipH="1">
              <a:off x="3948714" y="869493"/>
              <a:ext cx="716982" cy="66330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/>
            <p:nvPr/>
          </p:nvCxnSpPr>
          <p:spPr>
            <a:xfrm flipH="1">
              <a:off x="4110463" y="869492"/>
              <a:ext cx="716982" cy="66330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/>
            <p:nvPr/>
          </p:nvCxnSpPr>
          <p:spPr>
            <a:xfrm flipH="1">
              <a:off x="4227045" y="923169"/>
              <a:ext cx="716982" cy="66330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 flipH="1">
              <a:off x="4297061" y="1029366"/>
              <a:ext cx="716982" cy="663309"/>
            </a:xfrm>
            <a:prstGeom prst="line">
              <a:avLst/>
            </a:prstGeom>
            <a:ln w="190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椭圆 14"/>
          <p:cNvSpPr/>
          <p:nvPr userDrawn="1"/>
        </p:nvSpPr>
        <p:spPr>
          <a:xfrm>
            <a:off x="10126480" y="734939"/>
            <a:ext cx="307841" cy="30784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椭圆 15"/>
          <p:cNvSpPr/>
          <p:nvPr userDrawn="1"/>
        </p:nvSpPr>
        <p:spPr>
          <a:xfrm>
            <a:off x="7855799" y="1934748"/>
            <a:ext cx="2792677" cy="2792677"/>
          </a:xfrm>
          <a:prstGeom prst="ellipse">
            <a:avLst/>
          </a:prstGeom>
          <a:noFill/>
          <a:ln w="666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 descr="图片包含 户外, 日落, 太阳, 男人&#10;&#10;描述已自动生成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>
          <a:xfrm>
            <a:off x="4857760" y="1348739"/>
            <a:ext cx="2476479" cy="2476479"/>
          </a:xfrm>
          <a:prstGeom prst="ellipse">
            <a:avLst/>
          </a:prstGeom>
        </p:spPr>
      </p:pic>
      <p:sp>
        <p:nvSpPr>
          <p:cNvPr id="9" name="椭圆 8"/>
          <p:cNvSpPr/>
          <p:nvPr userDrawn="1"/>
        </p:nvSpPr>
        <p:spPr>
          <a:xfrm>
            <a:off x="5128260" y="1619237"/>
            <a:ext cx="1935480" cy="1935480"/>
          </a:xfrm>
          <a:prstGeom prst="ellipse">
            <a:avLst/>
          </a:prstGeom>
          <a:solidFill>
            <a:srgbClr val="DF363A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椭圆 9"/>
          <p:cNvSpPr/>
          <p:nvPr userDrawn="1"/>
        </p:nvSpPr>
        <p:spPr>
          <a:xfrm>
            <a:off x="4699660" y="1190639"/>
            <a:ext cx="2792677" cy="2792677"/>
          </a:xfrm>
          <a:prstGeom prst="ellipse">
            <a:avLst/>
          </a:prstGeom>
          <a:noFill/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椭圆 10"/>
          <p:cNvSpPr/>
          <p:nvPr userDrawn="1"/>
        </p:nvSpPr>
        <p:spPr>
          <a:xfrm>
            <a:off x="4354862" y="822960"/>
            <a:ext cx="3482275" cy="3482275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直接连接符 7"/>
          <p:cNvCxnSpPr/>
          <p:nvPr userDrawn="1"/>
        </p:nvCxnSpPr>
        <p:spPr>
          <a:xfrm>
            <a:off x="914400" y="809952"/>
            <a:ext cx="1085088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椭圆 8"/>
          <p:cNvSpPr/>
          <p:nvPr userDrawn="1"/>
        </p:nvSpPr>
        <p:spPr>
          <a:xfrm>
            <a:off x="308892" y="348287"/>
            <a:ext cx="461666" cy="461666"/>
          </a:xfrm>
          <a:prstGeom prst="ellipse">
            <a:avLst/>
          </a:prstGeom>
          <a:solidFill>
            <a:srgbClr val="DF36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椭圆 11"/>
          <p:cNvSpPr/>
          <p:nvPr userDrawn="1"/>
        </p:nvSpPr>
        <p:spPr>
          <a:xfrm>
            <a:off x="11567160" y="6156959"/>
            <a:ext cx="487680" cy="487680"/>
          </a:xfrm>
          <a:prstGeom prst="ellipse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灯片编号占位符 5"/>
          <p:cNvSpPr txBox="1"/>
          <p:nvPr userDrawn="1"/>
        </p:nvSpPr>
        <p:spPr>
          <a:xfrm>
            <a:off x="11567160" y="6256336"/>
            <a:ext cx="487680" cy="365125"/>
          </a:xfrm>
          <a:prstGeom prst="rect">
            <a:avLst/>
          </a:prstGeom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5F7A31D-843F-48B6-8729-41403A88BF99}" type="slidenum">
              <a:rPr kumimoji="0" lang="zh-CN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</a:fld>
            <a:endParaRPr kumimoji="0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-104533" y="0"/>
            <a:ext cx="12296533" cy="6858000"/>
          </a:xfrm>
          <a:prstGeom prst="rect">
            <a:avLst/>
          </a:prstGeom>
        </p:spPr>
      </p:pic>
      <p:sp>
        <p:nvSpPr>
          <p:cNvPr id="8" name="矩形 7"/>
          <p:cNvSpPr/>
          <p:nvPr userDrawn="1"/>
        </p:nvSpPr>
        <p:spPr>
          <a:xfrm>
            <a:off x="-104533" y="0"/>
            <a:ext cx="12296533" cy="6858000"/>
          </a:xfrm>
          <a:prstGeom prst="rect">
            <a:avLst/>
          </a:prstGeom>
          <a:solidFill>
            <a:srgbClr val="141B25">
              <a:alpha val="4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030"/>
          </a:p>
        </p:txBody>
      </p:sp>
      <p:sp>
        <p:nvSpPr>
          <p:cNvPr id="2" name="矩形 1"/>
          <p:cNvSpPr/>
          <p:nvPr userDrawn="1"/>
        </p:nvSpPr>
        <p:spPr>
          <a:xfrm>
            <a:off x="-104535" y="0"/>
            <a:ext cx="12296533" cy="6858000"/>
          </a:xfrm>
          <a:prstGeom prst="rect">
            <a:avLst/>
          </a:prstGeom>
          <a:solidFill>
            <a:srgbClr val="00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203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" advTm="0">
        <p:random/>
      </p:transition>
    </mc:Choice>
    <mc:Fallback>
      <p:transition spd="slow" advTm="0">
        <p:random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 descr="绿色的彩虹&#10;&#10;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3"/>
            <a:ext cx="12192000" cy="685719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811282" y="1122363"/>
            <a:ext cx="7380718" cy="2387600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rgbClr val="174892"/>
                </a:solidFill>
              </a:defRPr>
            </a:lvl1pPr>
          </a:lstStyle>
          <a:p>
            <a:r>
              <a:rPr lang="zh-CN" altLang="en-US" dirty="0"/>
              <a:t>单击此处编辑母版</a:t>
            </a:r>
            <a:br>
              <a:rPr lang="en-US" altLang="zh-CN" dirty="0"/>
            </a:br>
            <a:r>
              <a:rPr lang="zh-CN" altLang="en-US" dirty="0"/>
              <a:t>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811282" y="3602038"/>
            <a:ext cx="7380718" cy="1655762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rgbClr val="36AC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11" name="图片 10" descr="徽标&#10;&#10;描述已自动生成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0571" cy="79344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811282" y="1122363"/>
            <a:ext cx="7380718" cy="2387600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rgbClr val="174892"/>
                </a:solidFill>
              </a:defRPr>
            </a:lvl1pPr>
          </a:lstStyle>
          <a:p>
            <a:r>
              <a:rPr lang="zh-CN" altLang="en-US" dirty="0"/>
              <a:t>单击此处编辑母版</a:t>
            </a:r>
            <a:br>
              <a:rPr lang="en-US" altLang="zh-CN" dirty="0"/>
            </a:br>
            <a:r>
              <a:rPr lang="zh-CN" altLang="en-US" dirty="0"/>
              <a:t>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811282" y="3602038"/>
            <a:ext cx="7380718" cy="1655762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rgbClr val="36AC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81399" cy="6858000"/>
          </a:xfrm>
          <a:prstGeom prst="rect">
            <a:avLst/>
          </a:prstGeom>
        </p:spPr>
      </p:pic>
      <p:pic>
        <p:nvPicPr>
          <p:cNvPr id="9" name="图片 8" descr="绿色的彩虹&#10;&#10;描述已自动生成"/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603" y="0"/>
            <a:ext cx="12192000" cy="685719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4811282" y="1122363"/>
            <a:ext cx="7380718" cy="2387600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rgbClr val="174892"/>
                </a:solidFill>
              </a:defRPr>
            </a:lvl1pPr>
          </a:lstStyle>
          <a:p>
            <a:r>
              <a:rPr lang="zh-CN" altLang="en-US" dirty="0"/>
              <a:t>单击此处编辑母版</a:t>
            </a:r>
            <a:br>
              <a:rPr lang="en-US" altLang="zh-CN" dirty="0"/>
            </a:br>
            <a:r>
              <a:rPr lang="zh-CN" altLang="en-US" dirty="0"/>
              <a:t>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811282" y="3602038"/>
            <a:ext cx="7380718" cy="1655762"/>
          </a:xfrm>
        </p:spPr>
        <p:txBody>
          <a:bodyPr/>
          <a:lstStyle>
            <a:lvl1pPr marL="0" indent="0" algn="ctr">
              <a:buNone/>
              <a:defRPr sz="2400" b="1">
                <a:solidFill>
                  <a:srgbClr val="36AC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内容占位符 4" descr="卡通人物&#10;&#10;中度可信度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33" y="0"/>
            <a:ext cx="12193433" cy="6858000"/>
          </a:xfrm>
          <a:prstGeom prst="rect">
            <a:avLst/>
          </a:prstGeom>
        </p:spPr>
      </p:pic>
      <p:pic>
        <p:nvPicPr>
          <p:cNvPr id="7" name="图片 6" descr="徽标&#10;&#10;中度可信度描述已自动生成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2586" y="274656"/>
            <a:ext cx="902447" cy="24028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0" y="635"/>
            <a:ext cx="8610600" cy="68579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9" name="图片 8" descr="绿色的彩虹&#10;&#10;描述已自动生成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4" r="40203"/>
          <a:stretch>
            <a:fillRect/>
          </a:stretch>
        </p:blipFill>
        <p:spPr>
          <a:xfrm>
            <a:off x="5932451" y="0"/>
            <a:ext cx="6270698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  <p:sp>
        <p:nvSpPr>
          <p:cNvPr id="11" name="矩形 10"/>
          <p:cNvSpPr/>
          <p:nvPr userDrawn="1"/>
        </p:nvSpPr>
        <p:spPr>
          <a:xfrm>
            <a:off x="-379826" y="2120615"/>
            <a:ext cx="6432646" cy="2459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6000" b="1" dirty="0">
                <a:solidFill>
                  <a:srgbClr val="174892"/>
                </a:solidFill>
                <a:latin typeface="微软雅黑" panose="020B0503020204020204" charset="-122"/>
                <a:ea typeface="微软雅黑" panose="020B0503020204020204" charset="-122"/>
              </a:rPr>
              <a:t>THANK </a:t>
            </a:r>
            <a:r>
              <a:rPr lang="en-US" altLang="zh-CN" sz="6000" b="1" dirty="0">
                <a:solidFill>
                  <a:srgbClr val="36AC00"/>
                </a:solidFill>
                <a:latin typeface="微软雅黑" panose="020B0503020204020204" charset="-122"/>
                <a:ea typeface="微软雅黑" panose="020B0503020204020204" charset="-122"/>
              </a:rPr>
              <a:t>YOU</a:t>
            </a:r>
            <a:endParaRPr lang="en-US" altLang="zh-CN" sz="6000" b="1" dirty="0">
              <a:solidFill>
                <a:srgbClr val="36AC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sp>
        <p:nvSpPr>
          <p:cNvPr id="10" name="矩形 9"/>
          <p:cNvSpPr/>
          <p:nvPr userDrawn="1"/>
        </p:nvSpPr>
        <p:spPr>
          <a:xfrm>
            <a:off x="0" y="0"/>
            <a:ext cx="12192000" cy="68579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1" name="图片 10" descr="绿色的彩虹&#10;&#10;描述已自动生成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800" b="20094"/>
          <a:stretch>
            <a:fillRect/>
          </a:stretch>
        </p:blipFill>
        <p:spPr>
          <a:xfrm>
            <a:off x="20" y="10"/>
            <a:ext cx="12191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10"/>
            <a:ext cx="12192000" cy="68579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 descr="绿色的彩虹&#10;&#10;描述已自动生成"/>
          <p:cNvPicPr>
            <a:picLocks noChangeAspect="1"/>
          </p:cNvPicPr>
          <p:nvPr userDrawn="1"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06"/>
            <a:ext cx="12192000" cy="6857194"/>
          </a:xfrm>
          <a:prstGeom prst="rect">
            <a:avLst/>
          </a:prstGeom>
        </p:spPr>
      </p:pic>
      <p:pic>
        <p:nvPicPr>
          <p:cNvPr id="14" name="图片 13" descr="绿色的彩虹&#10;&#10;描述已自动生成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38"/>
            <a:ext cx="12192000" cy="6857194"/>
          </a:xfrm>
          <a:prstGeom prst="diagStripe">
            <a:avLst>
              <a:gd name="adj" fmla="val 40765"/>
            </a:avLst>
          </a:prstGeom>
        </p:spPr>
      </p:pic>
      <p:sp>
        <p:nvSpPr>
          <p:cNvPr id="11" name="矩形 10"/>
          <p:cNvSpPr/>
          <p:nvPr userDrawn="1"/>
        </p:nvSpPr>
        <p:spPr>
          <a:xfrm>
            <a:off x="5759354" y="2647665"/>
            <a:ext cx="6432646" cy="24596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7200" b="1" dirty="0">
                <a:solidFill>
                  <a:srgbClr val="174892"/>
                </a:solidFill>
                <a:latin typeface="微软雅黑" panose="020B0503020204020204" charset="-122"/>
                <a:ea typeface="微软雅黑" panose="020B0503020204020204" charset="-122"/>
              </a:rPr>
              <a:t>THANK </a:t>
            </a:r>
            <a:r>
              <a:rPr lang="en-US" altLang="zh-CN" sz="7200" b="1" dirty="0">
                <a:solidFill>
                  <a:srgbClr val="36AC00"/>
                </a:solidFill>
                <a:latin typeface="微软雅黑" panose="020B0503020204020204" charset="-122"/>
                <a:ea typeface="微软雅黑" panose="020B0503020204020204" charset="-122"/>
              </a:rPr>
              <a:t>YOU</a:t>
            </a:r>
            <a:endParaRPr lang="zh-CN" altLang="en-US" sz="7200" b="1" dirty="0">
              <a:solidFill>
                <a:srgbClr val="36AC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2"/>
          <a:srcRect l="-13694" r="65056"/>
          <a:stretch>
            <a:fillRect/>
          </a:stretch>
        </p:blipFill>
        <p:spPr>
          <a:xfrm>
            <a:off x="-1652092" y="0"/>
            <a:ext cx="13844091" cy="6858010"/>
          </a:xfrm>
          <a:prstGeom prst="rect">
            <a:avLst/>
          </a:prstGeom>
        </p:spPr>
      </p:pic>
      <p:pic>
        <p:nvPicPr>
          <p:cNvPr id="8" name="内容占位符 6" descr="绿色的彩虹&#10;&#10;描述已自动生成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48" r="37499"/>
          <a:stretch>
            <a:fillRect/>
          </a:stretch>
        </p:blipFill>
        <p:spPr>
          <a:xfrm>
            <a:off x="1" y="-1"/>
            <a:ext cx="5965370" cy="6857991"/>
          </a:xfrm>
          <a:custGeom>
            <a:avLst/>
            <a:gdLst/>
            <a:ahLst/>
            <a:cxnLst/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六边形 8"/>
          <p:cNvSpPr/>
          <p:nvPr userDrawn="1"/>
        </p:nvSpPr>
        <p:spPr>
          <a:xfrm rot="12434681">
            <a:off x="11282451" y="5727022"/>
            <a:ext cx="595084" cy="508000"/>
          </a:xfrm>
          <a:prstGeom prst="hexagon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ln w="38100">
                <a:solidFill>
                  <a:schemeClr val="accent1"/>
                </a:solidFill>
              </a:ln>
              <a:noFill/>
            </a:endParaRPr>
          </a:p>
        </p:txBody>
      </p:sp>
      <p:sp>
        <p:nvSpPr>
          <p:cNvPr id="10" name="六边形 9"/>
          <p:cNvSpPr/>
          <p:nvPr userDrawn="1"/>
        </p:nvSpPr>
        <p:spPr>
          <a:xfrm rot="1526932">
            <a:off x="10929598" y="5972134"/>
            <a:ext cx="595084" cy="508000"/>
          </a:xfrm>
          <a:prstGeom prst="hexagon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ln w="38100">
                <a:solidFill>
                  <a:schemeClr val="accent1"/>
                </a:solidFill>
              </a:ln>
              <a:noFill/>
            </a:endParaRPr>
          </a:p>
        </p:txBody>
      </p:sp>
      <p:sp>
        <p:nvSpPr>
          <p:cNvPr id="11" name="六边形 10"/>
          <p:cNvSpPr/>
          <p:nvPr userDrawn="1"/>
        </p:nvSpPr>
        <p:spPr>
          <a:xfrm rot="19365711">
            <a:off x="11513230" y="5450486"/>
            <a:ext cx="310470" cy="265036"/>
          </a:xfrm>
          <a:prstGeom prst="hexagon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ln w="38100">
                <a:solidFill>
                  <a:schemeClr val="accent1"/>
                </a:solidFill>
              </a:ln>
              <a:noFill/>
            </a:endParaRPr>
          </a:p>
        </p:txBody>
      </p:sp>
      <p:sp>
        <p:nvSpPr>
          <p:cNvPr id="12" name="六边形 11"/>
          <p:cNvSpPr/>
          <p:nvPr userDrawn="1"/>
        </p:nvSpPr>
        <p:spPr>
          <a:xfrm rot="19365711">
            <a:off x="11353736" y="5245966"/>
            <a:ext cx="310470" cy="265036"/>
          </a:xfrm>
          <a:prstGeom prst="hexagon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ln w="38100">
                <a:solidFill>
                  <a:schemeClr val="accent1"/>
                </a:solidFill>
              </a:ln>
              <a:noFill/>
            </a:endParaRPr>
          </a:p>
        </p:txBody>
      </p:sp>
      <p:pic>
        <p:nvPicPr>
          <p:cNvPr id="3" name="图片 2" descr="徽标&#10;&#10;中度可信度描述已自动生成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2586" y="274656"/>
            <a:ext cx="902447" cy="24028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8" name="图片 7" descr="形状&#10;&#10;低可信度描述已自动生成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3"/>
            <a:ext cx="12192000" cy="6857194"/>
          </a:xfrm>
          <a:prstGeom prst="rect">
            <a:avLst/>
          </a:prstGeom>
        </p:spPr>
      </p:pic>
      <p:sp>
        <p:nvSpPr>
          <p:cNvPr id="6" name="文本框 5"/>
          <p:cNvSpPr txBox="1"/>
          <p:nvPr userDrawn="1"/>
        </p:nvSpPr>
        <p:spPr>
          <a:xfrm>
            <a:off x="8313420" y="6665595"/>
            <a:ext cx="3878580" cy="2298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sz="900">
                <a:solidFill>
                  <a:srgbClr val="00206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特别提示：因IPF适应症处于专利保护期内，因此本产品未获批该适应症。</a:t>
            </a:r>
            <a:endParaRPr lang="zh-CN" altLang="en-US" sz="900">
              <a:solidFill>
                <a:srgbClr val="00206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210931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组合 21"/>
          <p:cNvGrpSpPr/>
          <p:nvPr userDrawn="1"/>
        </p:nvGrpSpPr>
        <p:grpSpPr>
          <a:xfrm>
            <a:off x="4458798" y="1511035"/>
            <a:ext cx="1223038" cy="923330"/>
            <a:chOff x="1650453" y="1638369"/>
            <a:chExt cx="1223038" cy="923330"/>
          </a:xfrm>
        </p:grpSpPr>
        <p:sp>
          <p:nvSpPr>
            <p:cNvPr id="13" name="矩形 12"/>
            <p:cNvSpPr/>
            <p:nvPr userDrawn="1"/>
          </p:nvSpPr>
          <p:spPr>
            <a:xfrm>
              <a:off x="1650453" y="1638369"/>
              <a:ext cx="886781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5400" b="0" cap="none" spc="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01</a:t>
              </a:r>
              <a:endParaRPr lang="zh-CN" alt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cxnSp>
          <p:nvCxnSpPr>
            <p:cNvPr id="17" name="直接连接符 16"/>
            <p:cNvCxnSpPr/>
            <p:nvPr userDrawn="1"/>
          </p:nvCxnSpPr>
          <p:spPr>
            <a:xfrm flipH="1">
              <a:off x="2537234" y="1638369"/>
              <a:ext cx="336257" cy="92333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组合 22"/>
          <p:cNvGrpSpPr/>
          <p:nvPr userDrawn="1"/>
        </p:nvGrpSpPr>
        <p:grpSpPr>
          <a:xfrm>
            <a:off x="4458798" y="2646973"/>
            <a:ext cx="1197649" cy="1019844"/>
            <a:chOff x="1675842" y="2870821"/>
            <a:chExt cx="1197649" cy="1019844"/>
          </a:xfrm>
        </p:grpSpPr>
        <p:sp>
          <p:nvSpPr>
            <p:cNvPr id="15" name="矩形 14"/>
            <p:cNvSpPr/>
            <p:nvPr userDrawn="1"/>
          </p:nvSpPr>
          <p:spPr>
            <a:xfrm>
              <a:off x="1675842" y="2870821"/>
              <a:ext cx="886781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5400" b="0" cap="none" spc="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02</a:t>
              </a:r>
              <a:endParaRPr lang="zh-CN" alt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cxnSp>
          <p:nvCxnSpPr>
            <p:cNvPr id="20" name="直接连接符 19"/>
            <p:cNvCxnSpPr/>
            <p:nvPr userDrawn="1"/>
          </p:nvCxnSpPr>
          <p:spPr>
            <a:xfrm flipH="1">
              <a:off x="2537234" y="2967335"/>
              <a:ext cx="336257" cy="92333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组合 23"/>
          <p:cNvGrpSpPr/>
          <p:nvPr userDrawn="1"/>
        </p:nvGrpSpPr>
        <p:grpSpPr>
          <a:xfrm>
            <a:off x="4458799" y="3879425"/>
            <a:ext cx="1182165" cy="1019844"/>
            <a:chOff x="1675843" y="4103273"/>
            <a:chExt cx="1182165" cy="1019844"/>
          </a:xfrm>
        </p:grpSpPr>
        <p:sp>
          <p:nvSpPr>
            <p:cNvPr id="14" name="矩形 13"/>
            <p:cNvSpPr/>
            <p:nvPr userDrawn="1"/>
          </p:nvSpPr>
          <p:spPr>
            <a:xfrm>
              <a:off x="1675843" y="4103273"/>
              <a:ext cx="886781" cy="923330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en-US" altLang="zh-CN" sz="5400" b="0" cap="none" spc="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03</a:t>
              </a:r>
              <a:endParaRPr lang="zh-CN" alt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cxnSp>
          <p:nvCxnSpPr>
            <p:cNvPr id="21" name="直接连接符 20"/>
            <p:cNvCxnSpPr/>
            <p:nvPr userDrawn="1"/>
          </p:nvCxnSpPr>
          <p:spPr>
            <a:xfrm flipH="1">
              <a:off x="2521751" y="4199787"/>
              <a:ext cx="336257" cy="92333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文本框 42"/>
          <p:cNvSpPr txBox="1"/>
          <p:nvPr userDrawn="1"/>
        </p:nvSpPr>
        <p:spPr>
          <a:xfrm>
            <a:off x="695262" y="2618506"/>
            <a:ext cx="250018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3200" dirty="0">
                <a:solidFill>
                  <a:schemeClr val="accent6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目录</a:t>
            </a:r>
            <a:endParaRPr lang="en-US" altLang="zh-CN" sz="3200" dirty="0">
              <a:solidFill>
                <a:schemeClr val="accent6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ctr"/>
            <a:r>
              <a:rPr lang="en-US" altLang="zh-CN" sz="3600" dirty="0">
                <a:solidFill>
                  <a:schemeClr val="accent6">
                    <a:lumMod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contents</a:t>
            </a:r>
            <a:endParaRPr lang="zh-CN" altLang="en-US" sz="3200" dirty="0">
              <a:solidFill>
                <a:schemeClr val="accent6">
                  <a:lumMod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4" name="矩形 43"/>
          <p:cNvSpPr/>
          <p:nvPr userDrawn="1"/>
        </p:nvSpPr>
        <p:spPr>
          <a:xfrm rot="2933713">
            <a:off x="936824" y="2315467"/>
            <a:ext cx="2055138" cy="1958424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5" name="矩形 44"/>
          <p:cNvSpPr/>
          <p:nvPr userDrawn="1"/>
        </p:nvSpPr>
        <p:spPr>
          <a:xfrm rot="2933713">
            <a:off x="3157565" y="3119502"/>
            <a:ext cx="729023" cy="69471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6" name="文本占位符 65"/>
          <p:cNvSpPr>
            <a:spLocks noGrp="1"/>
          </p:cNvSpPr>
          <p:nvPr>
            <p:ph type="body" sz="quarter" idx="10"/>
          </p:nvPr>
        </p:nvSpPr>
        <p:spPr>
          <a:xfrm>
            <a:off x="6232360" y="1754418"/>
            <a:ext cx="3697288" cy="4365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7" name="文本占位符 65"/>
          <p:cNvSpPr>
            <a:spLocks noGrp="1"/>
          </p:cNvSpPr>
          <p:nvPr>
            <p:ph type="body" sz="quarter" idx="11"/>
          </p:nvPr>
        </p:nvSpPr>
        <p:spPr>
          <a:xfrm>
            <a:off x="6232360" y="2963830"/>
            <a:ext cx="3697288" cy="4365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  <p:sp>
        <p:nvSpPr>
          <p:cNvPr id="68" name="文本占位符 65"/>
          <p:cNvSpPr>
            <a:spLocks noGrp="1"/>
          </p:cNvSpPr>
          <p:nvPr>
            <p:ph type="body" sz="quarter" idx="12"/>
          </p:nvPr>
        </p:nvSpPr>
        <p:spPr>
          <a:xfrm>
            <a:off x="6232360" y="4230694"/>
            <a:ext cx="3697288" cy="4365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205BDF-3CB7-4451-A95E-714FCEDE9155}" type="slidenum">
              <a:rPr lang="zh-CN" altLang="en-US" smtClean="0"/>
            </a:fld>
            <a:endParaRPr lang="zh-CN" altLang="en-US"/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812800" y="473800"/>
            <a:ext cx="10515600" cy="589032"/>
          </a:xfrm>
        </p:spPr>
        <p:txBody>
          <a:bodyPr/>
          <a:lstStyle>
            <a:lvl1pPr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 userDrawn="1"/>
        </p:nvSpPr>
        <p:spPr>
          <a:xfrm>
            <a:off x="3644348" y="2828835"/>
            <a:ext cx="49033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200" b="1" dirty="0">
                <a:solidFill>
                  <a:srgbClr val="559BE2"/>
                </a:solidFill>
              </a:rPr>
              <a:t>Thank </a:t>
            </a:r>
            <a:r>
              <a:rPr lang="en-US" altLang="zh-CN" sz="7200" b="1" dirty="0">
                <a:solidFill>
                  <a:srgbClr val="93D277"/>
                </a:solidFill>
              </a:rPr>
              <a:t>you</a:t>
            </a:r>
            <a:r>
              <a:rPr lang="en-US" altLang="zh-CN" sz="7200" b="1" dirty="0"/>
              <a:t> </a:t>
            </a:r>
            <a:endParaRPr lang="zh-CN" altLang="en-US" sz="7200" b="1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7" Type="http://schemas.openxmlformats.org/officeDocument/2006/relationships/theme" Target="../theme/theme1.xml"/><Relationship Id="rId1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5.xml"/><Relationship Id="rId8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4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9.xml"/><Relationship Id="rId8" Type="http://schemas.openxmlformats.org/officeDocument/2006/relationships/slideLayout" Target="../slideLayouts/slideLayout38.xml"/><Relationship Id="rId7" Type="http://schemas.openxmlformats.org/officeDocument/2006/relationships/slideLayout" Target="../slideLayouts/slideLayout37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4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7.xml"/><Relationship Id="rId26" Type="http://schemas.openxmlformats.org/officeDocument/2006/relationships/theme" Target="../theme/theme4.xml"/><Relationship Id="rId25" Type="http://schemas.openxmlformats.org/officeDocument/2006/relationships/image" Target="../media/image9.png"/><Relationship Id="rId24" Type="http://schemas.openxmlformats.org/officeDocument/2006/relationships/image" Target="../media/image15.png"/><Relationship Id="rId23" Type="http://schemas.openxmlformats.org/officeDocument/2006/relationships/image" Target="../media/image14.jpeg"/><Relationship Id="rId22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4.xml"/><Relationship Id="rId2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47850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97B5FA-0921-464F-AAE1-844C04324D75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CE74E-AB26-4998-AD42-012C4C1AD076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02456-CB2C-4F3C-97BB-CCD59E0217F7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28EA36-10E1-432D-A012-3A3059E45C13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人在草地上&#10;&#10;中度可信度描述已自动生成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3"/>
            <a:ext cx="12192000" cy="6857194"/>
          </a:xfrm>
          <a:prstGeom prst="rect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504202"/>
            <a:ext cx="10515600" cy="6403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324598"/>
            <a:ext cx="10515600" cy="48523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二级</a:t>
            </a:r>
            <a:endParaRPr lang="zh-CN" altLang="en-US"/>
          </a:p>
          <a:p>
            <a:pPr lvl="2"/>
            <a:r>
              <a:rPr lang="zh-CN" altLang="en-US"/>
              <a:t>三级</a:t>
            </a:r>
            <a:endParaRPr lang="zh-CN" altLang="en-US"/>
          </a:p>
          <a:p>
            <a:pPr lvl="3"/>
            <a:r>
              <a:rPr lang="zh-CN" altLang="en-US"/>
              <a:t>四级</a:t>
            </a:r>
            <a:endParaRPr lang="zh-CN" altLang="en-US"/>
          </a:p>
          <a:p>
            <a:pPr lvl="4"/>
            <a:r>
              <a:rPr lang="zh-CN" altLang="en-US"/>
              <a:t>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26649ECF-ABB6-4E4D-97B5-2BDD2B7DE648}" type="datetimeFigureOut">
              <a:rPr lang="zh-CN" altLang="en-US" smtClean="0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fld id="{10A16010-2058-4BFC-830E-46E41A890942}" type="slidenum">
              <a:rPr lang="zh-CN" altLang="en-US" smtClean="0"/>
            </a:fld>
            <a:endParaRPr lang="zh-CN" altLang="en-US"/>
          </a:p>
        </p:txBody>
      </p:sp>
      <p:pic>
        <p:nvPicPr>
          <p:cNvPr id="13" name="图片 12" descr="图片包含 文本&#10;&#10;描述已自动生成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5391" y="5651673"/>
            <a:ext cx="2186609" cy="1229968"/>
          </a:xfrm>
          <a:prstGeom prst="rect">
            <a:avLst/>
          </a:prstGeom>
        </p:spPr>
      </p:pic>
      <p:pic>
        <p:nvPicPr>
          <p:cNvPr id="8" name="图片 7" descr="徽标&#10;&#10;中度可信度描述已自动生成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3068" y="242874"/>
            <a:ext cx="981464" cy="2613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174892"/>
          </a:solidFill>
          <a:latin typeface="微软雅黑" panose="020B0503020204020204" charset="-122"/>
          <a:ea typeface="微软雅黑" panose="020B050302020402020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charset="-122"/>
          <a:ea typeface="微软雅黑" panose="020B050302020402020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.xml"/><Relationship Id="rId1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8.xml"/><Relationship Id="rId1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.xml"/><Relationship Id="rId5" Type="http://schemas.openxmlformats.org/officeDocument/2006/relationships/vmlDrawing" Target="../drawings/vmlDrawing1.v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7.emf"/><Relationship Id="rId2" Type="http://schemas.openxmlformats.org/officeDocument/2006/relationships/oleObject" Target="../embeddings/oleObject1.bin"/><Relationship Id="rId1" Type="http://schemas.openxmlformats.org/officeDocument/2006/relationships/tags" Target="../tags/tag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3" Type="http://schemas.openxmlformats.org/officeDocument/2006/relationships/image" Target="../media/image17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.xml"/><Relationship Id="rId8" Type="http://schemas.openxmlformats.org/officeDocument/2006/relationships/tags" Target="../tags/tag11.xml"/><Relationship Id="rId7" Type="http://schemas.openxmlformats.org/officeDocument/2006/relationships/tags" Target="../tags/tag10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3" Type="http://schemas.openxmlformats.org/officeDocument/2006/relationships/image" Target="../media/image17.emf"/><Relationship Id="rId2" Type="http://schemas.openxmlformats.org/officeDocument/2006/relationships/oleObject" Target="../embeddings/oleObject3.bin"/><Relationship Id="rId11" Type="http://schemas.openxmlformats.org/officeDocument/2006/relationships/notesSlide" Target="../notesSlides/notesSlide4.xml"/><Relationship Id="rId10" Type="http://schemas.openxmlformats.org/officeDocument/2006/relationships/vmlDrawing" Target="../drawings/vmlDrawing3.v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5.xml"/><Relationship Id="rId8" Type="http://schemas.openxmlformats.org/officeDocument/2006/relationships/vmlDrawing" Target="../drawings/vmlDrawing4.v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tags" Target="../tags/tag14.xml"/><Relationship Id="rId4" Type="http://schemas.openxmlformats.org/officeDocument/2006/relationships/image" Target="../media/image17.emf"/><Relationship Id="rId3" Type="http://schemas.openxmlformats.org/officeDocument/2006/relationships/oleObject" Target="../embeddings/oleObject4.bin"/><Relationship Id="rId2" Type="http://schemas.openxmlformats.org/officeDocument/2006/relationships/tags" Target="../tags/tag13.xml"/><Relationship Id="rId1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3.xml"/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tags" Target="../tags/tag18.xml"/><Relationship Id="rId4" Type="http://schemas.openxmlformats.org/officeDocument/2006/relationships/image" Target="../media/image2.svg"/><Relationship Id="rId3" Type="http://schemas.openxmlformats.org/officeDocument/2006/relationships/image" Target="../media/image20.png"/><Relationship Id="rId2" Type="http://schemas.openxmlformats.org/officeDocument/2006/relationships/image" Target="../media/image1.svg"/><Relationship Id="rId1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vmlDrawing" Target="../drawings/vmlDrawing5.v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7.emf"/><Relationship Id="rId2" Type="http://schemas.openxmlformats.org/officeDocument/2006/relationships/oleObject" Target="../embeddings/oleObject5.bin"/><Relationship Id="rId1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6"/>
          <p:cNvSpPr txBox="1">
            <a:spLocks noChangeArrowheads="1"/>
          </p:cNvSpPr>
          <p:nvPr/>
        </p:nvSpPr>
        <p:spPr bwMode="auto">
          <a:xfrm>
            <a:off x="635" y="2286635"/>
            <a:ext cx="12191365" cy="1932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6697" tIns="43348" rIns="86697" bIns="43348">
            <a:spAutoFit/>
          </a:bodyPr>
          <a:lstStyle>
            <a:lvl1pPr defTabSz="974725" eaLnBrk="0" hangingPunct="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1pPr>
            <a:lvl2pPr marL="742950" indent="-285750" defTabSz="974725" eaLnBrk="0" hangingPunct="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2pPr>
            <a:lvl3pPr marL="1143000" indent="-228600" defTabSz="974725" eaLnBrk="0" hangingPunct="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3pPr>
            <a:lvl4pPr marL="1600200" indent="-228600" defTabSz="974725" eaLnBrk="0" hangingPunct="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4pPr>
            <a:lvl5pPr marL="2057400" indent="-228600" defTabSz="974725" eaLnBrk="0" hangingPunct="0"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5pPr>
            <a:lvl6pPr marL="25146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6pPr>
            <a:lvl7pPr marL="29718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7pPr>
            <a:lvl8pPr marL="34290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8pPr>
            <a:lvl9pPr marL="3886200" indent="-228600" defTabSz="9747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charset="0"/>
                <a:ea typeface="宋体" panose="02010600030101010101" pitchFamily="2" charset="-122"/>
              </a:defRPr>
            </a:lvl9pPr>
          </a:lstStyle>
          <a:p>
            <a:pPr marL="0" marR="0" lvl="0" indent="0" algn="ctr" defTabSz="97472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zh-CN" sz="4000" b="1" dirty="0">
                <a:effectLst/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lt"/>
              </a:rPr>
              <a:t>乙磺酸</a:t>
            </a:r>
            <a:r>
              <a:rPr kumimoji="1" lang="zh-CN" altLang="zh-CN" sz="4000" b="1" dirty="0">
                <a:solidFill>
                  <a:srgbClr val="FF0000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lt"/>
              </a:rPr>
              <a:t>尼达尼布</a:t>
            </a:r>
            <a:r>
              <a:rPr kumimoji="1" lang="zh-CN" altLang="zh-CN" sz="4000" b="1" dirty="0">
                <a:effectLst/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lt"/>
              </a:rPr>
              <a:t>软胶囊</a:t>
            </a:r>
            <a:endParaRPr kumimoji="1" lang="zh-CN" altLang="zh-CN" sz="4000" b="1" dirty="0">
              <a:solidFill>
                <a:srgbClr val="FF0000"/>
              </a:solidFill>
              <a:effectLst/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  <a:sym typeface="+mn-lt"/>
            </a:endParaRPr>
          </a:p>
          <a:p>
            <a:pPr marL="0" marR="0" lvl="0" indent="0" algn="ctr" defTabSz="97472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1" lang="zh-CN" altLang="zh-CN" sz="4000" b="1" dirty="0">
              <a:effectLst/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  <a:sym typeface="+mn-lt"/>
            </a:endParaRPr>
          </a:p>
          <a:p>
            <a:pPr marL="0" marR="0" lvl="0" indent="0" algn="ctr" defTabSz="974725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1" lang="zh-CN" altLang="zh-CN" sz="4000" b="1" i="0" u="none" strike="noStrike" kern="1200" normalizeH="0" baseline="0" dirty="0">
                <a:effectLst/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（</a:t>
            </a:r>
            <a:r>
              <a:rPr kumimoji="1" lang="zh-CN" altLang="zh-CN" sz="4000" b="1" i="0" u="none" strike="noStrike" kern="1200" normalizeH="0" baseline="0" dirty="0">
                <a:solidFill>
                  <a:srgbClr val="184E78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伊络达</a:t>
            </a:r>
            <a:r>
              <a:rPr kumimoji="1" lang="zh-CN" altLang="zh-CN" sz="4000" b="1" i="0" u="none" strike="noStrike" kern="1200" normalizeH="0" baseline="0" dirty="0">
                <a:effectLst/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</a:rPr>
              <a:t>）</a:t>
            </a:r>
            <a:endParaRPr kumimoji="0" lang="zh-CN" altLang="en-US" sz="4000" b="1" i="0" u="none" strike="noStrike" kern="1200" cap="all" spc="569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A0AA2A18-3CCB-424F-BCE6-1131DFC42CC8}" type="slidenum">
              <a:rPr kumimoji="0" lang="zh-CN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+mn-cs"/>
              </a:rPr>
            </a:fld>
            <a:endParaRPr kumimoji="0" lang="zh-CN" altLang="en-US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+mn-cs"/>
            </a:endParaRPr>
          </a:p>
        </p:txBody>
      </p:sp>
      <p:pic>
        <p:nvPicPr>
          <p:cNvPr id="5" name="图片 4" descr="3501689220569_.pic_hd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274820" y="4548505"/>
            <a:ext cx="3895090" cy="1069340"/>
          </a:xfrm>
          <a:prstGeom prst="rect">
            <a:avLst/>
          </a:prstGeom>
        </p:spPr>
      </p:pic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图片 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265" y="3098"/>
            <a:ext cx="12225008" cy="6854524"/>
          </a:xfrm>
          <a:prstGeom prst="rect">
            <a:avLst/>
          </a:prstGeom>
        </p:spPr>
      </p:pic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2095584" y="2524586"/>
            <a:ext cx="7536920" cy="13538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ctr">
              <a:spcBef>
                <a:spcPct val="0"/>
              </a:spcBef>
              <a:buNone/>
              <a:defRPr lang="ko-KR" altLang="en-US" sz="4400" b="1" baseline="0" dirty="0">
                <a:solidFill>
                  <a:schemeClr val="bg1"/>
                </a:solidFill>
                <a:effectLst>
                  <a:outerShdw blurRad="12700" dist="25400" dir="5400000" algn="t" rotWithShape="0">
                    <a:prstClr val="black">
                      <a:alpha val="50000"/>
                    </a:prst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r>
              <a:rPr lang="en-US" altLang="ko-KR" sz="8800" dirty="0">
                <a:solidFill>
                  <a:srgbClr val="0DA3FF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THANK</a:t>
            </a:r>
            <a:r>
              <a:rPr lang="en-US" altLang="ko-KR" sz="8800" dirty="0">
                <a:solidFill>
                  <a:srgbClr val="00D0D0"/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 </a:t>
            </a:r>
            <a:r>
              <a:rPr lang="en-US" altLang="ko-KR" sz="8800" dirty="0">
                <a:solidFill>
                  <a:schemeClr val="bg1">
                    <a:lumMod val="50000"/>
                  </a:schemeClr>
                </a:solidFill>
                <a:effectLst/>
                <a:latin typeface="微软雅黑" panose="020B0503020204020204" charset="-122"/>
                <a:ea typeface="微软雅黑" panose="020B0503020204020204" charset="-122"/>
                <a:cs typeface="+mn-ea"/>
                <a:sym typeface="+mn-lt"/>
              </a:rPr>
              <a:t>YOU</a:t>
            </a:r>
            <a:endParaRPr lang="en-US" altLang="ko-KR" sz="8800" dirty="0">
              <a:solidFill>
                <a:schemeClr val="bg1">
                  <a:lumMod val="50000"/>
                </a:schemeClr>
              </a:solidFill>
              <a:effectLst/>
              <a:latin typeface="微软雅黑" panose="020B0503020204020204" charset="-122"/>
              <a:ea typeface="微软雅黑" panose="020B0503020204020204" charset="-122"/>
              <a:cs typeface="+mn-ea"/>
              <a:sym typeface="+mn-lt"/>
            </a:endParaRPr>
          </a:p>
        </p:txBody>
      </p:sp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>
          <a:xfrm>
            <a:off x="9349740" y="6492875"/>
            <a:ext cx="2743200" cy="365125"/>
          </a:xfrm>
        </p:spPr>
        <p:txBody>
          <a:bodyPr/>
          <a:lstStyle/>
          <a:p>
            <a:fld id="{A0AA2A18-3CCB-424F-BCE6-1131DFC42CC8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: 圆角 3"/>
          <p:cNvSpPr/>
          <p:nvPr/>
        </p:nvSpPr>
        <p:spPr>
          <a:xfrm>
            <a:off x="3071768" y="1732024"/>
            <a:ext cx="2051958" cy="491456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药品基本信息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2176430" y="1716142"/>
            <a:ext cx="600710" cy="521970"/>
            <a:chOff x="1884737" y="1587543"/>
            <a:chExt cx="600710" cy="521970"/>
          </a:xfrm>
        </p:grpSpPr>
        <p:sp>
          <p:nvSpPr>
            <p:cNvPr id="20" name="等腰三角形 76"/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-1" fmla="*/ 0 w 2564441"/>
                <a:gd name="connsiteY0-2" fmla="*/ 2246165 h 2246165"/>
                <a:gd name="connsiteX1-3" fmla="*/ 1282221 w 2564441"/>
                <a:gd name="connsiteY1-4" fmla="*/ 35440 h 2246165"/>
                <a:gd name="connsiteX2-5" fmla="*/ 2564441 w 2564441"/>
                <a:gd name="connsiteY2-6" fmla="*/ 2246165 h 2246165"/>
                <a:gd name="connsiteX3-7" fmla="*/ 0 w 2564441"/>
                <a:gd name="connsiteY3-8" fmla="*/ 2246165 h 2246165"/>
                <a:gd name="connsiteX0-9" fmla="*/ 0 w 2564441"/>
                <a:gd name="connsiteY0-10" fmla="*/ 2246165 h 2246165"/>
                <a:gd name="connsiteX1-11" fmla="*/ 1282221 w 2564441"/>
                <a:gd name="connsiteY1-12" fmla="*/ 35440 h 2246165"/>
                <a:gd name="connsiteX2-13" fmla="*/ 2564441 w 2564441"/>
                <a:gd name="connsiteY2-14" fmla="*/ 2246165 h 2246165"/>
                <a:gd name="connsiteX3-15" fmla="*/ 0 w 2564441"/>
                <a:gd name="connsiteY3-16" fmla="*/ 2246165 h 2246165"/>
                <a:gd name="connsiteX0-17" fmla="*/ 0 w 2564441"/>
                <a:gd name="connsiteY0-18" fmla="*/ 2246165 h 2517098"/>
                <a:gd name="connsiteX1-19" fmla="*/ 1282221 w 2564441"/>
                <a:gd name="connsiteY1-20" fmla="*/ 35440 h 2517098"/>
                <a:gd name="connsiteX2-21" fmla="*/ 2564441 w 2564441"/>
                <a:gd name="connsiteY2-22" fmla="*/ 2246165 h 2517098"/>
                <a:gd name="connsiteX3-23" fmla="*/ 0 w 2564441"/>
                <a:gd name="connsiteY3-24" fmla="*/ 2246165 h 2517098"/>
                <a:gd name="connsiteX0-25" fmla="*/ 41119 w 2605560"/>
                <a:gd name="connsiteY0-26" fmla="*/ 2246165 h 2517098"/>
                <a:gd name="connsiteX1-27" fmla="*/ 1323340 w 2605560"/>
                <a:gd name="connsiteY1-28" fmla="*/ 35440 h 2517098"/>
                <a:gd name="connsiteX2-29" fmla="*/ 2605560 w 2605560"/>
                <a:gd name="connsiteY2-30" fmla="*/ 2246165 h 2517098"/>
                <a:gd name="connsiteX3-31" fmla="*/ 41119 w 2605560"/>
                <a:gd name="connsiteY3-32" fmla="*/ 2246165 h 2517098"/>
                <a:gd name="connsiteX0-33" fmla="*/ 41119 w 2698397"/>
                <a:gd name="connsiteY0-34" fmla="*/ 2246165 h 2517098"/>
                <a:gd name="connsiteX1-35" fmla="*/ 1323340 w 2698397"/>
                <a:gd name="connsiteY1-36" fmla="*/ 35440 h 2517098"/>
                <a:gd name="connsiteX2-37" fmla="*/ 2605560 w 2698397"/>
                <a:gd name="connsiteY2-38" fmla="*/ 2246165 h 2517098"/>
                <a:gd name="connsiteX3-39" fmla="*/ 41119 w 2698397"/>
                <a:gd name="connsiteY3-40" fmla="*/ 2246165 h 2517098"/>
                <a:gd name="connsiteX0-41" fmla="*/ 41119 w 2698397"/>
                <a:gd name="connsiteY0-42" fmla="*/ 2246165 h 2687187"/>
                <a:gd name="connsiteX1-43" fmla="*/ 1323340 w 2698397"/>
                <a:gd name="connsiteY1-44" fmla="*/ 35440 h 2687187"/>
                <a:gd name="connsiteX2-45" fmla="*/ 2605560 w 2698397"/>
                <a:gd name="connsiteY2-46" fmla="*/ 2246165 h 2687187"/>
                <a:gd name="connsiteX3-47" fmla="*/ 41119 w 2698397"/>
                <a:gd name="connsiteY3-48" fmla="*/ 2246165 h 2687187"/>
                <a:gd name="connsiteX0-49" fmla="*/ 0 w 2657278"/>
                <a:gd name="connsiteY0-50" fmla="*/ 2246165 h 2687187"/>
                <a:gd name="connsiteX1-51" fmla="*/ 1282221 w 2657278"/>
                <a:gd name="connsiteY1-52" fmla="*/ 35440 h 2687187"/>
                <a:gd name="connsiteX2-53" fmla="*/ 2564441 w 2657278"/>
                <a:gd name="connsiteY2-54" fmla="*/ 2246165 h 2687187"/>
                <a:gd name="connsiteX3-55" fmla="*/ 0 w 2657278"/>
                <a:gd name="connsiteY3-56" fmla="*/ 2246165 h 2687187"/>
                <a:gd name="connsiteX0-57" fmla="*/ 0 w 2657278"/>
                <a:gd name="connsiteY0-58" fmla="*/ 2246165 h 2654542"/>
                <a:gd name="connsiteX1-59" fmla="*/ 1282221 w 2657278"/>
                <a:gd name="connsiteY1-60" fmla="*/ 35440 h 2654542"/>
                <a:gd name="connsiteX2-61" fmla="*/ 2564441 w 2657278"/>
                <a:gd name="connsiteY2-62" fmla="*/ 2246165 h 2654542"/>
                <a:gd name="connsiteX3-63" fmla="*/ 0 w 2657278"/>
                <a:gd name="connsiteY3-64" fmla="*/ 2246165 h 2654542"/>
                <a:gd name="connsiteX0-65" fmla="*/ 57808 w 2715086"/>
                <a:gd name="connsiteY0-66" fmla="*/ 2246165 h 2654542"/>
                <a:gd name="connsiteX1-67" fmla="*/ 1340029 w 2715086"/>
                <a:gd name="connsiteY1-68" fmla="*/ 35440 h 2654542"/>
                <a:gd name="connsiteX2-69" fmla="*/ 2622249 w 2715086"/>
                <a:gd name="connsiteY2-70" fmla="*/ 2246165 h 2654542"/>
                <a:gd name="connsiteX3-71" fmla="*/ 57808 w 2715086"/>
                <a:gd name="connsiteY3-72" fmla="*/ 2246165 h 2654542"/>
                <a:gd name="connsiteX0-73" fmla="*/ 57808 w 2653271"/>
                <a:gd name="connsiteY0-74" fmla="*/ 2240363 h 2648740"/>
                <a:gd name="connsiteX1-75" fmla="*/ 1340029 w 2653271"/>
                <a:gd name="connsiteY1-76" fmla="*/ 29638 h 2648740"/>
                <a:gd name="connsiteX2-77" fmla="*/ 2622249 w 2653271"/>
                <a:gd name="connsiteY2-78" fmla="*/ 2240363 h 2648740"/>
                <a:gd name="connsiteX3-79" fmla="*/ 57808 w 2653271"/>
                <a:gd name="connsiteY3-80" fmla="*/ 2240363 h 2648740"/>
                <a:gd name="connsiteX0-81" fmla="*/ 57808 w 2653271"/>
                <a:gd name="connsiteY0-82" fmla="*/ 2240363 h 2570137"/>
                <a:gd name="connsiteX1-83" fmla="*/ 1340029 w 2653271"/>
                <a:gd name="connsiteY1-84" fmla="*/ 29638 h 2570137"/>
                <a:gd name="connsiteX2-85" fmla="*/ 2622249 w 2653271"/>
                <a:gd name="connsiteY2-86" fmla="*/ 2240363 h 2570137"/>
                <a:gd name="connsiteX3-87" fmla="*/ 57808 w 2653271"/>
                <a:gd name="connsiteY3-88" fmla="*/ 2240363 h 257013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1" name="文本框 20"/>
            <p:cNvSpPr txBox="1"/>
            <p:nvPr/>
          </p:nvSpPr>
          <p:spPr>
            <a:xfrm>
              <a:off x="1884737" y="1587543"/>
              <a:ext cx="600710" cy="5219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01</a:t>
              </a:r>
              <a:endParaRPr kumimoji="0" lang="en-US" altLang="zh-CN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26" name="矩形: 圆角 25"/>
          <p:cNvSpPr/>
          <p:nvPr/>
        </p:nvSpPr>
        <p:spPr>
          <a:xfrm>
            <a:off x="7698183" y="1732024"/>
            <a:ext cx="2051958" cy="491456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安全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7" name="组合 26"/>
          <p:cNvGrpSpPr/>
          <p:nvPr/>
        </p:nvGrpSpPr>
        <p:grpSpPr>
          <a:xfrm>
            <a:off x="6802845" y="1716142"/>
            <a:ext cx="600710" cy="521970"/>
            <a:chOff x="1884737" y="1587543"/>
            <a:chExt cx="600710" cy="521970"/>
          </a:xfrm>
        </p:grpSpPr>
        <p:sp>
          <p:nvSpPr>
            <p:cNvPr id="28" name="等腰三角形 76"/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-1" fmla="*/ 0 w 2564441"/>
                <a:gd name="connsiteY0-2" fmla="*/ 2246165 h 2246165"/>
                <a:gd name="connsiteX1-3" fmla="*/ 1282221 w 2564441"/>
                <a:gd name="connsiteY1-4" fmla="*/ 35440 h 2246165"/>
                <a:gd name="connsiteX2-5" fmla="*/ 2564441 w 2564441"/>
                <a:gd name="connsiteY2-6" fmla="*/ 2246165 h 2246165"/>
                <a:gd name="connsiteX3-7" fmla="*/ 0 w 2564441"/>
                <a:gd name="connsiteY3-8" fmla="*/ 2246165 h 2246165"/>
                <a:gd name="connsiteX0-9" fmla="*/ 0 w 2564441"/>
                <a:gd name="connsiteY0-10" fmla="*/ 2246165 h 2246165"/>
                <a:gd name="connsiteX1-11" fmla="*/ 1282221 w 2564441"/>
                <a:gd name="connsiteY1-12" fmla="*/ 35440 h 2246165"/>
                <a:gd name="connsiteX2-13" fmla="*/ 2564441 w 2564441"/>
                <a:gd name="connsiteY2-14" fmla="*/ 2246165 h 2246165"/>
                <a:gd name="connsiteX3-15" fmla="*/ 0 w 2564441"/>
                <a:gd name="connsiteY3-16" fmla="*/ 2246165 h 2246165"/>
                <a:gd name="connsiteX0-17" fmla="*/ 0 w 2564441"/>
                <a:gd name="connsiteY0-18" fmla="*/ 2246165 h 2517098"/>
                <a:gd name="connsiteX1-19" fmla="*/ 1282221 w 2564441"/>
                <a:gd name="connsiteY1-20" fmla="*/ 35440 h 2517098"/>
                <a:gd name="connsiteX2-21" fmla="*/ 2564441 w 2564441"/>
                <a:gd name="connsiteY2-22" fmla="*/ 2246165 h 2517098"/>
                <a:gd name="connsiteX3-23" fmla="*/ 0 w 2564441"/>
                <a:gd name="connsiteY3-24" fmla="*/ 2246165 h 2517098"/>
                <a:gd name="connsiteX0-25" fmla="*/ 41119 w 2605560"/>
                <a:gd name="connsiteY0-26" fmla="*/ 2246165 h 2517098"/>
                <a:gd name="connsiteX1-27" fmla="*/ 1323340 w 2605560"/>
                <a:gd name="connsiteY1-28" fmla="*/ 35440 h 2517098"/>
                <a:gd name="connsiteX2-29" fmla="*/ 2605560 w 2605560"/>
                <a:gd name="connsiteY2-30" fmla="*/ 2246165 h 2517098"/>
                <a:gd name="connsiteX3-31" fmla="*/ 41119 w 2605560"/>
                <a:gd name="connsiteY3-32" fmla="*/ 2246165 h 2517098"/>
                <a:gd name="connsiteX0-33" fmla="*/ 41119 w 2698397"/>
                <a:gd name="connsiteY0-34" fmla="*/ 2246165 h 2517098"/>
                <a:gd name="connsiteX1-35" fmla="*/ 1323340 w 2698397"/>
                <a:gd name="connsiteY1-36" fmla="*/ 35440 h 2517098"/>
                <a:gd name="connsiteX2-37" fmla="*/ 2605560 w 2698397"/>
                <a:gd name="connsiteY2-38" fmla="*/ 2246165 h 2517098"/>
                <a:gd name="connsiteX3-39" fmla="*/ 41119 w 2698397"/>
                <a:gd name="connsiteY3-40" fmla="*/ 2246165 h 2517098"/>
                <a:gd name="connsiteX0-41" fmla="*/ 41119 w 2698397"/>
                <a:gd name="connsiteY0-42" fmla="*/ 2246165 h 2687187"/>
                <a:gd name="connsiteX1-43" fmla="*/ 1323340 w 2698397"/>
                <a:gd name="connsiteY1-44" fmla="*/ 35440 h 2687187"/>
                <a:gd name="connsiteX2-45" fmla="*/ 2605560 w 2698397"/>
                <a:gd name="connsiteY2-46" fmla="*/ 2246165 h 2687187"/>
                <a:gd name="connsiteX3-47" fmla="*/ 41119 w 2698397"/>
                <a:gd name="connsiteY3-48" fmla="*/ 2246165 h 2687187"/>
                <a:gd name="connsiteX0-49" fmla="*/ 0 w 2657278"/>
                <a:gd name="connsiteY0-50" fmla="*/ 2246165 h 2687187"/>
                <a:gd name="connsiteX1-51" fmla="*/ 1282221 w 2657278"/>
                <a:gd name="connsiteY1-52" fmla="*/ 35440 h 2687187"/>
                <a:gd name="connsiteX2-53" fmla="*/ 2564441 w 2657278"/>
                <a:gd name="connsiteY2-54" fmla="*/ 2246165 h 2687187"/>
                <a:gd name="connsiteX3-55" fmla="*/ 0 w 2657278"/>
                <a:gd name="connsiteY3-56" fmla="*/ 2246165 h 2687187"/>
                <a:gd name="connsiteX0-57" fmla="*/ 0 w 2657278"/>
                <a:gd name="connsiteY0-58" fmla="*/ 2246165 h 2654542"/>
                <a:gd name="connsiteX1-59" fmla="*/ 1282221 w 2657278"/>
                <a:gd name="connsiteY1-60" fmla="*/ 35440 h 2654542"/>
                <a:gd name="connsiteX2-61" fmla="*/ 2564441 w 2657278"/>
                <a:gd name="connsiteY2-62" fmla="*/ 2246165 h 2654542"/>
                <a:gd name="connsiteX3-63" fmla="*/ 0 w 2657278"/>
                <a:gd name="connsiteY3-64" fmla="*/ 2246165 h 2654542"/>
                <a:gd name="connsiteX0-65" fmla="*/ 57808 w 2715086"/>
                <a:gd name="connsiteY0-66" fmla="*/ 2246165 h 2654542"/>
                <a:gd name="connsiteX1-67" fmla="*/ 1340029 w 2715086"/>
                <a:gd name="connsiteY1-68" fmla="*/ 35440 h 2654542"/>
                <a:gd name="connsiteX2-69" fmla="*/ 2622249 w 2715086"/>
                <a:gd name="connsiteY2-70" fmla="*/ 2246165 h 2654542"/>
                <a:gd name="connsiteX3-71" fmla="*/ 57808 w 2715086"/>
                <a:gd name="connsiteY3-72" fmla="*/ 2246165 h 2654542"/>
                <a:gd name="connsiteX0-73" fmla="*/ 57808 w 2653271"/>
                <a:gd name="connsiteY0-74" fmla="*/ 2240363 h 2648740"/>
                <a:gd name="connsiteX1-75" fmla="*/ 1340029 w 2653271"/>
                <a:gd name="connsiteY1-76" fmla="*/ 29638 h 2648740"/>
                <a:gd name="connsiteX2-77" fmla="*/ 2622249 w 2653271"/>
                <a:gd name="connsiteY2-78" fmla="*/ 2240363 h 2648740"/>
                <a:gd name="connsiteX3-79" fmla="*/ 57808 w 2653271"/>
                <a:gd name="connsiteY3-80" fmla="*/ 2240363 h 2648740"/>
                <a:gd name="connsiteX0-81" fmla="*/ 57808 w 2653271"/>
                <a:gd name="connsiteY0-82" fmla="*/ 2240363 h 2570137"/>
                <a:gd name="connsiteX1-83" fmla="*/ 1340029 w 2653271"/>
                <a:gd name="connsiteY1-84" fmla="*/ 29638 h 2570137"/>
                <a:gd name="connsiteX2-85" fmla="*/ 2622249 w 2653271"/>
                <a:gd name="connsiteY2-86" fmla="*/ 2240363 h 2570137"/>
                <a:gd name="connsiteX3-87" fmla="*/ 57808 w 2653271"/>
                <a:gd name="connsiteY3-88" fmla="*/ 2240363 h 257013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" name="文本框 28"/>
            <p:cNvSpPr txBox="1"/>
            <p:nvPr/>
          </p:nvSpPr>
          <p:spPr>
            <a:xfrm>
              <a:off x="1884737" y="1587543"/>
              <a:ext cx="600710" cy="5219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02</a:t>
              </a:r>
              <a:endParaRPr kumimoji="0" lang="en-US" altLang="zh-CN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32" name="矩形: 圆角 31"/>
          <p:cNvSpPr/>
          <p:nvPr/>
        </p:nvSpPr>
        <p:spPr>
          <a:xfrm>
            <a:off x="3071768" y="3086850"/>
            <a:ext cx="2051958" cy="491456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有效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33" name="组合 32"/>
          <p:cNvGrpSpPr/>
          <p:nvPr/>
        </p:nvGrpSpPr>
        <p:grpSpPr>
          <a:xfrm>
            <a:off x="2176430" y="3070968"/>
            <a:ext cx="600710" cy="521970"/>
            <a:chOff x="1884737" y="1587543"/>
            <a:chExt cx="600710" cy="521970"/>
          </a:xfrm>
        </p:grpSpPr>
        <p:sp>
          <p:nvSpPr>
            <p:cNvPr id="34" name="等腰三角形 76"/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-1" fmla="*/ 0 w 2564441"/>
                <a:gd name="connsiteY0-2" fmla="*/ 2246165 h 2246165"/>
                <a:gd name="connsiteX1-3" fmla="*/ 1282221 w 2564441"/>
                <a:gd name="connsiteY1-4" fmla="*/ 35440 h 2246165"/>
                <a:gd name="connsiteX2-5" fmla="*/ 2564441 w 2564441"/>
                <a:gd name="connsiteY2-6" fmla="*/ 2246165 h 2246165"/>
                <a:gd name="connsiteX3-7" fmla="*/ 0 w 2564441"/>
                <a:gd name="connsiteY3-8" fmla="*/ 2246165 h 2246165"/>
                <a:gd name="connsiteX0-9" fmla="*/ 0 w 2564441"/>
                <a:gd name="connsiteY0-10" fmla="*/ 2246165 h 2246165"/>
                <a:gd name="connsiteX1-11" fmla="*/ 1282221 w 2564441"/>
                <a:gd name="connsiteY1-12" fmla="*/ 35440 h 2246165"/>
                <a:gd name="connsiteX2-13" fmla="*/ 2564441 w 2564441"/>
                <a:gd name="connsiteY2-14" fmla="*/ 2246165 h 2246165"/>
                <a:gd name="connsiteX3-15" fmla="*/ 0 w 2564441"/>
                <a:gd name="connsiteY3-16" fmla="*/ 2246165 h 2246165"/>
                <a:gd name="connsiteX0-17" fmla="*/ 0 w 2564441"/>
                <a:gd name="connsiteY0-18" fmla="*/ 2246165 h 2517098"/>
                <a:gd name="connsiteX1-19" fmla="*/ 1282221 w 2564441"/>
                <a:gd name="connsiteY1-20" fmla="*/ 35440 h 2517098"/>
                <a:gd name="connsiteX2-21" fmla="*/ 2564441 w 2564441"/>
                <a:gd name="connsiteY2-22" fmla="*/ 2246165 h 2517098"/>
                <a:gd name="connsiteX3-23" fmla="*/ 0 w 2564441"/>
                <a:gd name="connsiteY3-24" fmla="*/ 2246165 h 2517098"/>
                <a:gd name="connsiteX0-25" fmla="*/ 41119 w 2605560"/>
                <a:gd name="connsiteY0-26" fmla="*/ 2246165 h 2517098"/>
                <a:gd name="connsiteX1-27" fmla="*/ 1323340 w 2605560"/>
                <a:gd name="connsiteY1-28" fmla="*/ 35440 h 2517098"/>
                <a:gd name="connsiteX2-29" fmla="*/ 2605560 w 2605560"/>
                <a:gd name="connsiteY2-30" fmla="*/ 2246165 h 2517098"/>
                <a:gd name="connsiteX3-31" fmla="*/ 41119 w 2605560"/>
                <a:gd name="connsiteY3-32" fmla="*/ 2246165 h 2517098"/>
                <a:gd name="connsiteX0-33" fmla="*/ 41119 w 2698397"/>
                <a:gd name="connsiteY0-34" fmla="*/ 2246165 h 2517098"/>
                <a:gd name="connsiteX1-35" fmla="*/ 1323340 w 2698397"/>
                <a:gd name="connsiteY1-36" fmla="*/ 35440 h 2517098"/>
                <a:gd name="connsiteX2-37" fmla="*/ 2605560 w 2698397"/>
                <a:gd name="connsiteY2-38" fmla="*/ 2246165 h 2517098"/>
                <a:gd name="connsiteX3-39" fmla="*/ 41119 w 2698397"/>
                <a:gd name="connsiteY3-40" fmla="*/ 2246165 h 2517098"/>
                <a:gd name="connsiteX0-41" fmla="*/ 41119 w 2698397"/>
                <a:gd name="connsiteY0-42" fmla="*/ 2246165 h 2687187"/>
                <a:gd name="connsiteX1-43" fmla="*/ 1323340 w 2698397"/>
                <a:gd name="connsiteY1-44" fmla="*/ 35440 h 2687187"/>
                <a:gd name="connsiteX2-45" fmla="*/ 2605560 w 2698397"/>
                <a:gd name="connsiteY2-46" fmla="*/ 2246165 h 2687187"/>
                <a:gd name="connsiteX3-47" fmla="*/ 41119 w 2698397"/>
                <a:gd name="connsiteY3-48" fmla="*/ 2246165 h 2687187"/>
                <a:gd name="connsiteX0-49" fmla="*/ 0 w 2657278"/>
                <a:gd name="connsiteY0-50" fmla="*/ 2246165 h 2687187"/>
                <a:gd name="connsiteX1-51" fmla="*/ 1282221 w 2657278"/>
                <a:gd name="connsiteY1-52" fmla="*/ 35440 h 2687187"/>
                <a:gd name="connsiteX2-53" fmla="*/ 2564441 w 2657278"/>
                <a:gd name="connsiteY2-54" fmla="*/ 2246165 h 2687187"/>
                <a:gd name="connsiteX3-55" fmla="*/ 0 w 2657278"/>
                <a:gd name="connsiteY3-56" fmla="*/ 2246165 h 2687187"/>
                <a:gd name="connsiteX0-57" fmla="*/ 0 w 2657278"/>
                <a:gd name="connsiteY0-58" fmla="*/ 2246165 h 2654542"/>
                <a:gd name="connsiteX1-59" fmla="*/ 1282221 w 2657278"/>
                <a:gd name="connsiteY1-60" fmla="*/ 35440 h 2654542"/>
                <a:gd name="connsiteX2-61" fmla="*/ 2564441 w 2657278"/>
                <a:gd name="connsiteY2-62" fmla="*/ 2246165 h 2654542"/>
                <a:gd name="connsiteX3-63" fmla="*/ 0 w 2657278"/>
                <a:gd name="connsiteY3-64" fmla="*/ 2246165 h 2654542"/>
                <a:gd name="connsiteX0-65" fmla="*/ 57808 w 2715086"/>
                <a:gd name="connsiteY0-66" fmla="*/ 2246165 h 2654542"/>
                <a:gd name="connsiteX1-67" fmla="*/ 1340029 w 2715086"/>
                <a:gd name="connsiteY1-68" fmla="*/ 35440 h 2654542"/>
                <a:gd name="connsiteX2-69" fmla="*/ 2622249 w 2715086"/>
                <a:gd name="connsiteY2-70" fmla="*/ 2246165 h 2654542"/>
                <a:gd name="connsiteX3-71" fmla="*/ 57808 w 2715086"/>
                <a:gd name="connsiteY3-72" fmla="*/ 2246165 h 2654542"/>
                <a:gd name="connsiteX0-73" fmla="*/ 57808 w 2653271"/>
                <a:gd name="connsiteY0-74" fmla="*/ 2240363 h 2648740"/>
                <a:gd name="connsiteX1-75" fmla="*/ 1340029 w 2653271"/>
                <a:gd name="connsiteY1-76" fmla="*/ 29638 h 2648740"/>
                <a:gd name="connsiteX2-77" fmla="*/ 2622249 w 2653271"/>
                <a:gd name="connsiteY2-78" fmla="*/ 2240363 h 2648740"/>
                <a:gd name="connsiteX3-79" fmla="*/ 57808 w 2653271"/>
                <a:gd name="connsiteY3-80" fmla="*/ 2240363 h 2648740"/>
                <a:gd name="connsiteX0-81" fmla="*/ 57808 w 2653271"/>
                <a:gd name="connsiteY0-82" fmla="*/ 2240363 h 2570137"/>
                <a:gd name="connsiteX1-83" fmla="*/ 1340029 w 2653271"/>
                <a:gd name="connsiteY1-84" fmla="*/ 29638 h 2570137"/>
                <a:gd name="connsiteX2-85" fmla="*/ 2622249 w 2653271"/>
                <a:gd name="connsiteY2-86" fmla="*/ 2240363 h 2570137"/>
                <a:gd name="connsiteX3-87" fmla="*/ 57808 w 2653271"/>
                <a:gd name="connsiteY3-88" fmla="*/ 2240363 h 257013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" name="文本框 34"/>
            <p:cNvSpPr txBox="1"/>
            <p:nvPr/>
          </p:nvSpPr>
          <p:spPr>
            <a:xfrm>
              <a:off x="1884737" y="1587543"/>
              <a:ext cx="600710" cy="5219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03</a:t>
              </a:r>
              <a:endParaRPr kumimoji="0" lang="en-US" altLang="zh-CN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37" name="矩形: 圆角 36"/>
          <p:cNvSpPr/>
          <p:nvPr/>
        </p:nvSpPr>
        <p:spPr>
          <a:xfrm>
            <a:off x="7698183" y="3086850"/>
            <a:ext cx="2051958" cy="491456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创新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38" name="组合 37"/>
          <p:cNvGrpSpPr/>
          <p:nvPr/>
        </p:nvGrpSpPr>
        <p:grpSpPr>
          <a:xfrm>
            <a:off x="6802845" y="3070968"/>
            <a:ext cx="600710" cy="521970"/>
            <a:chOff x="1884737" y="1587543"/>
            <a:chExt cx="600710" cy="521970"/>
          </a:xfrm>
        </p:grpSpPr>
        <p:sp>
          <p:nvSpPr>
            <p:cNvPr id="39" name="等腰三角形 76"/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-1" fmla="*/ 0 w 2564441"/>
                <a:gd name="connsiteY0-2" fmla="*/ 2246165 h 2246165"/>
                <a:gd name="connsiteX1-3" fmla="*/ 1282221 w 2564441"/>
                <a:gd name="connsiteY1-4" fmla="*/ 35440 h 2246165"/>
                <a:gd name="connsiteX2-5" fmla="*/ 2564441 w 2564441"/>
                <a:gd name="connsiteY2-6" fmla="*/ 2246165 h 2246165"/>
                <a:gd name="connsiteX3-7" fmla="*/ 0 w 2564441"/>
                <a:gd name="connsiteY3-8" fmla="*/ 2246165 h 2246165"/>
                <a:gd name="connsiteX0-9" fmla="*/ 0 w 2564441"/>
                <a:gd name="connsiteY0-10" fmla="*/ 2246165 h 2246165"/>
                <a:gd name="connsiteX1-11" fmla="*/ 1282221 w 2564441"/>
                <a:gd name="connsiteY1-12" fmla="*/ 35440 h 2246165"/>
                <a:gd name="connsiteX2-13" fmla="*/ 2564441 w 2564441"/>
                <a:gd name="connsiteY2-14" fmla="*/ 2246165 h 2246165"/>
                <a:gd name="connsiteX3-15" fmla="*/ 0 w 2564441"/>
                <a:gd name="connsiteY3-16" fmla="*/ 2246165 h 2246165"/>
                <a:gd name="connsiteX0-17" fmla="*/ 0 w 2564441"/>
                <a:gd name="connsiteY0-18" fmla="*/ 2246165 h 2517098"/>
                <a:gd name="connsiteX1-19" fmla="*/ 1282221 w 2564441"/>
                <a:gd name="connsiteY1-20" fmla="*/ 35440 h 2517098"/>
                <a:gd name="connsiteX2-21" fmla="*/ 2564441 w 2564441"/>
                <a:gd name="connsiteY2-22" fmla="*/ 2246165 h 2517098"/>
                <a:gd name="connsiteX3-23" fmla="*/ 0 w 2564441"/>
                <a:gd name="connsiteY3-24" fmla="*/ 2246165 h 2517098"/>
                <a:gd name="connsiteX0-25" fmla="*/ 41119 w 2605560"/>
                <a:gd name="connsiteY0-26" fmla="*/ 2246165 h 2517098"/>
                <a:gd name="connsiteX1-27" fmla="*/ 1323340 w 2605560"/>
                <a:gd name="connsiteY1-28" fmla="*/ 35440 h 2517098"/>
                <a:gd name="connsiteX2-29" fmla="*/ 2605560 w 2605560"/>
                <a:gd name="connsiteY2-30" fmla="*/ 2246165 h 2517098"/>
                <a:gd name="connsiteX3-31" fmla="*/ 41119 w 2605560"/>
                <a:gd name="connsiteY3-32" fmla="*/ 2246165 h 2517098"/>
                <a:gd name="connsiteX0-33" fmla="*/ 41119 w 2698397"/>
                <a:gd name="connsiteY0-34" fmla="*/ 2246165 h 2517098"/>
                <a:gd name="connsiteX1-35" fmla="*/ 1323340 w 2698397"/>
                <a:gd name="connsiteY1-36" fmla="*/ 35440 h 2517098"/>
                <a:gd name="connsiteX2-37" fmla="*/ 2605560 w 2698397"/>
                <a:gd name="connsiteY2-38" fmla="*/ 2246165 h 2517098"/>
                <a:gd name="connsiteX3-39" fmla="*/ 41119 w 2698397"/>
                <a:gd name="connsiteY3-40" fmla="*/ 2246165 h 2517098"/>
                <a:gd name="connsiteX0-41" fmla="*/ 41119 w 2698397"/>
                <a:gd name="connsiteY0-42" fmla="*/ 2246165 h 2687187"/>
                <a:gd name="connsiteX1-43" fmla="*/ 1323340 w 2698397"/>
                <a:gd name="connsiteY1-44" fmla="*/ 35440 h 2687187"/>
                <a:gd name="connsiteX2-45" fmla="*/ 2605560 w 2698397"/>
                <a:gd name="connsiteY2-46" fmla="*/ 2246165 h 2687187"/>
                <a:gd name="connsiteX3-47" fmla="*/ 41119 w 2698397"/>
                <a:gd name="connsiteY3-48" fmla="*/ 2246165 h 2687187"/>
                <a:gd name="connsiteX0-49" fmla="*/ 0 w 2657278"/>
                <a:gd name="connsiteY0-50" fmla="*/ 2246165 h 2687187"/>
                <a:gd name="connsiteX1-51" fmla="*/ 1282221 w 2657278"/>
                <a:gd name="connsiteY1-52" fmla="*/ 35440 h 2687187"/>
                <a:gd name="connsiteX2-53" fmla="*/ 2564441 w 2657278"/>
                <a:gd name="connsiteY2-54" fmla="*/ 2246165 h 2687187"/>
                <a:gd name="connsiteX3-55" fmla="*/ 0 w 2657278"/>
                <a:gd name="connsiteY3-56" fmla="*/ 2246165 h 2687187"/>
                <a:gd name="connsiteX0-57" fmla="*/ 0 w 2657278"/>
                <a:gd name="connsiteY0-58" fmla="*/ 2246165 h 2654542"/>
                <a:gd name="connsiteX1-59" fmla="*/ 1282221 w 2657278"/>
                <a:gd name="connsiteY1-60" fmla="*/ 35440 h 2654542"/>
                <a:gd name="connsiteX2-61" fmla="*/ 2564441 w 2657278"/>
                <a:gd name="connsiteY2-62" fmla="*/ 2246165 h 2654542"/>
                <a:gd name="connsiteX3-63" fmla="*/ 0 w 2657278"/>
                <a:gd name="connsiteY3-64" fmla="*/ 2246165 h 2654542"/>
                <a:gd name="connsiteX0-65" fmla="*/ 57808 w 2715086"/>
                <a:gd name="connsiteY0-66" fmla="*/ 2246165 h 2654542"/>
                <a:gd name="connsiteX1-67" fmla="*/ 1340029 w 2715086"/>
                <a:gd name="connsiteY1-68" fmla="*/ 35440 h 2654542"/>
                <a:gd name="connsiteX2-69" fmla="*/ 2622249 w 2715086"/>
                <a:gd name="connsiteY2-70" fmla="*/ 2246165 h 2654542"/>
                <a:gd name="connsiteX3-71" fmla="*/ 57808 w 2715086"/>
                <a:gd name="connsiteY3-72" fmla="*/ 2246165 h 2654542"/>
                <a:gd name="connsiteX0-73" fmla="*/ 57808 w 2653271"/>
                <a:gd name="connsiteY0-74" fmla="*/ 2240363 h 2648740"/>
                <a:gd name="connsiteX1-75" fmla="*/ 1340029 w 2653271"/>
                <a:gd name="connsiteY1-76" fmla="*/ 29638 h 2648740"/>
                <a:gd name="connsiteX2-77" fmla="*/ 2622249 w 2653271"/>
                <a:gd name="connsiteY2-78" fmla="*/ 2240363 h 2648740"/>
                <a:gd name="connsiteX3-79" fmla="*/ 57808 w 2653271"/>
                <a:gd name="connsiteY3-80" fmla="*/ 2240363 h 2648740"/>
                <a:gd name="connsiteX0-81" fmla="*/ 57808 w 2653271"/>
                <a:gd name="connsiteY0-82" fmla="*/ 2240363 h 2570137"/>
                <a:gd name="connsiteX1-83" fmla="*/ 1340029 w 2653271"/>
                <a:gd name="connsiteY1-84" fmla="*/ 29638 h 2570137"/>
                <a:gd name="connsiteX2-85" fmla="*/ 2622249 w 2653271"/>
                <a:gd name="connsiteY2-86" fmla="*/ 2240363 h 2570137"/>
                <a:gd name="connsiteX3-87" fmla="*/ 57808 w 2653271"/>
                <a:gd name="connsiteY3-88" fmla="*/ 2240363 h 257013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1884737" y="1587543"/>
              <a:ext cx="600710" cy="5219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04</a:t>
              </a:r>
              <a:endParaRPr kumimoji="0" lang="en-US" altLang="zh-CN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42" name="矩形: 圆角 41"/>
          <p:cNvSpPr/>
          <p:nvPr/>
        </p:nvSpPr>
        <p:spPr>
          <a:xfrm>
            <a:off x="3072403" y="4415006"/>
            <a:ext cx="2051958" cy="491456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公平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43" name="组合 42"/>
          <p:cNvGrpSpPr/>
          <p:nvPr/>
        </p:nvGrpSpPr>
        <p:grpSpPr>
          <a:xfrm>
            <a:off x="2176430" y="4425794"/>
            <a:ext cx="600710" cy="521970"/>
            <a:chOff x="1884737" y="1587543"/>
            <a:chExt cx="600710" cy="521970"/>
          </a:xfrm>
        </p:grpSpPr>
        <p:sp>
          <p:nvSpPr>
            <p:cNvPr id="44" name="等腰三角形 76"/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-1" fmla="*/ 0 w 2564441"/>
                <a:gd name="connsiteY0-2" fmla="*/ 2246165 h 2246165"/>
                <a:gd name="connsiteX1-3" fmla="*/ 1282221 w 2564441"/>
                <a:gd name="connsiteY1-4" fmla="*/ 35440 h 2246165"/>
                <a:gd name="connsiteX2-5" fmla="*/ 2564441 w 2564441"/>
                <a:gd name="connsiteY2-6" fmla="*/ 2246165 h 2246165"/>
                <a:gd name="connsiteX3-7" fmla="*/ 0 w 2564441"/>
                <a:gd name="connsiteY3-8" fmla="*/ 2246165 h 2246165"/>
                <a:gd name="connsiteX0-9" fmla="*/ 0 w 2564441"/>
                <a:gd name="connsiteY0-10" fmla="*/ 2246165 h 2246165"/>
                <a:gd name="connsiteX1-11" fmla="*/ 1282221 w 2564441"/>
                <a:gd name="connsiteY1-12" fmla="*/ 35440 h 2246165"/>
                <a:gd name="connsiteX2-13" fmla="*/ 2564441 w 2564441"/>
                <a:gd name="connsiteY2-14" fmla="*/ 2246165 h 2246165"/>
                <a:gd name="connsiteX3-15" fmla="*/ 0 w 2564441"/>
                <a:gd name="connsiteY3-16" fmla="*/ 2246165 h 2246165"/>
                <a:gd name="connsiteX0-17" fmla="*/ 0 w 2564441"/>
                <a:gd name="connsiteY0-18" fmla="*/ 2246165 h 2517098"/>
                <a:gd name="connsiteX1-19" fmla="*/ 1282221 w 2564441"/>
                <a:gd name="connsiteY1-20" fmla="*/ 35440 h 2517098"/>
                <a:gd name="connsiteX2-21" fmla="*/ 2564441 w 2564441"/>
                <a:gd name="connsiteY2-22" fmla="*/ 2246165 h 2517098"/>
                <a:gd name="connsiteX3-23" fmla="*/ 0 w 2564441"/>
                <a:gd name="connsiteY3-24" fmla="*/ 2246165 h 2517098"/>
                <a:gd name="connsiteX0-25" fmla="*/ 41119 w 2605560"/>
                <a:gd name="connsiteY0-26" fmla="*/ 2246165 h 2517098"/>
                <a:gd name="connsiteX1-27" fmla="*/ 1323340 w 2605560"/>
                <a:gd name="connsiteY1-28" fmla="*/ 35440 h 2517098"/>
                <a:gd name="connsiteX2-29" fmla="*/ 2605560 w 2605560"/>
                <a:gd name="connsiteY2-30" fmla="*/ 2246165 h 2517098"/>
                <a:gd name="connsiteX3-31" fmla="*/ 41119 w 2605560"/>
                <a:gd name="connsiteY3-32" fmla="*/ 2246165 h 2517098"/>
                <a:gd name="connsiteX0-33" fmla="*/ 41119 w 2698397"/>
                <a:gd name="connsiteY0-34" fmla="*/ 2246165 h 2517098"/>
                <a:gd name="connsiteX1-35" fmla="*/ 1323340 w 2698397"/>
                <a:gd name="connsiteY1-36" fmla="*/ 35440 h 2517098"/>
                <a:gd name="connsiteX2-37" fmla="*/ 2605560 w 2698397"/>
                <a:gd name="connsiteY2-38" fmla="*/ 2246165 h 2517098"/>
                <a:gd name="connsiteX3-39" fmla="*/ 41119 w 2698397"/>
                <a:gd name="connsiteY3-40" fmla="*/ 2246165 h 2517098"/>
                <a:gd name="connsiteX0-41" fmla="*/ 41119 w 2698397"/>
                <a:gd name="connsiteY0-42" fmla="*/ 2246165 h 2687187"/>
                <a:gd name="connsiteX1-43" fmla="*/ 1323340 w 2698397"/>
                <a:gd name="connsiteY1-44" fmla="*/ 35440 h 2687187"/>
                <a:gd name="connsiteX2-45" fmla="*/ 2605560 w 2698397"/>
                <a:gd name="connsiteY2-46" fmla="*/ 2246165 h 2687187"/>
                <a:gd name="connsiteX3-47" fmla="*/ 41119 w 2698397"/>
                <a:gd name="connsiteY3-48" fmla="*/ 2246165 h 2687187"/>
                <a:gd name="connsiteX0-49" fmla="*/ 0 w 2657278"/>
                <a:gd name="connsiteY0-50" fmla="*/ 2246165 h 2687187"/>
                <a:gd name="connsiteX1-51" fmla="*/ 1282221 w 2657278"/>
                <a:gd name="connsiteY1-52" fmla="*/ 35440 h 2687187"/>
                <a:gd name="connsiteX2-53" fmla="*/ 2564441 w 2657278"/>
                <a:gd name="connsiteY2-54" fmla="*/ 2246165 h 2687187"/>
                <a:gd name="connsiteX3-55" fmla="*/ 0 w 2657278"/>
                <a:gd name="connsiteY3-56" fmla="*/ 2246165 h 2687187"/>
                <a:gd name="connsiteX0-57" fmla="*/ 0 w 2657278"/>
                <a:gd name="connsiteY0-58" fmla="*/ 2246165 h 2654542"/>
                <a:gd name="connsiteX1-59" fmla="*/ 1282221 w 2657278"/>
                <a:gd name="connsiteY1-60" fmla="*/ 35440 h 2654542"/>
                <a:gd name="connsiteX2-61" fmla="*/ 2564441 w 2657278"/>
                <a:gd name="connsiteY2-62" fmla="*/ 2246165 h 2654542"/>
                <a:gd name="connsiteX3-63" fmla="*/ 0 w 2657278"/>
                <a:gd name="connsiteY3-64" fmla="*/ 2246165 h 2654542"/>
                <a:gd name="connsiteX0-65" fmla="*/ 57808 w 2715086"/>
                <a:gd name="connsiteY0-66" fmla="*/ 2246165 h 2654542"/>
                <a:gd name="connsiteX1-67" fmla="*/ 1340029 w 2715086"/>
                <a:gd name="connsiteY1-68" fmla="*/ 35440 h 2654542"/>
                <a:gd name="connsiteX2-69" fmla="*/ 2622249 w 2715086"/>
                <a:gd name="connsiteY2-70" fmla="*/ 2246165 h 2654542"/>
                <a:gd name="connsiteX3-71" fmla="*/ 57808 w 2715086"/>
                <a:gd name="connsiteY3-72" fmla="*/ 2246165 h 2654542"/>
                <a:gd name="connsiteX0-73" fmla="*/ 57808 w 2653271"/>
                <a:gd name="connsiteY0-74" fmla="*/ 2240363 h 2648740"/>
                <a:gd name="connsiteX1-75" fmla="*/ 1340029 w 2653271"/>
                <a:gd name="connsiteY1-76" fmla="*/ 29638 h 2648740"/>
                <a:gd name="connsiteX2-77" fmla="*/ 2622249 w 2653271"/>
                <a:gd name="connsiteY2-78" fmla="*/ 2240363 h 2648740"/>
                <a:gd name="connsiteX3-79" fmla="*/ 57808 w 2653271"/>
                <a:gd name="connsiteY3-80" fmla="*/ 2240363 h 2648740"/>
                <a:gd name="connsiteX0-81" fmla="*/ 57808 w 2653271"/>
                <a:gd name="connsiteY0-82" fmla="*/ 2240363 h 2570137"/>
                <a:gd name="connsiteX1-83" fmla="*/ 1340029 w 2653271"/>
                <a:gd name="connsiteY1-84" fmla="*/ 29638 h 2570137"/>
                <a:gd name="connsiteX2-85" fmla="*/ 2622249 w 2653271"/>
                <a:gd name="connsiteY2-86" fmla="*/ 2240363 h 2570137"/>
                <a:gd name="connsiteX3-87" fmla="*/ 57808 w 2653271"/>
                <a:gd name="connsiteY3-88" fmla="*/ 2240363 h 2570137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45" name="文本框 44"/>
            <p:cNvSpPr txBox="1"/>
            <p:nvPr/>
          </p:nvSpPr>
          <p:spPr>
            <a:xfrm>
              <a:off x="1884737" y="1587543"/>
              <a:ext cx="600710" cy="52197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</a:rPr>
                <a:t>05</a:t>
              </a:r>
              <a:endParaRPr kumimoji="0" lang="en-US" altLang="zh-CN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0" name="矩形: 圆角 3"/>
          <p:cNvSpPr/>
          <p:nvPr/>
        </p:nvSpPr>
        <p:spPr>
          <a:xfrm>
            <a:off x="0" y="0"/>
            <a:ext cx="2595880" cy="337185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目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  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录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/>
          <p:cNvSpPr/>
          <p:nvPr/>
        </p:nvSpPr>
        <p:spPr>
          <a:xfrm>
            <a:off x="451485" y="445770"/>
            <a:ext cx="11393805" cy="82550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尼达尼布医保支付范围</a:t>
            </a: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适应症增补“用于具有进行性表型的慢性纤维化性间质性肺疾病”（PF-ILD）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>
          <a:xfrm>
            <a:off x="561975" y="5982970"/>
            <a:ext cx="11283950" cy="5340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p>
            <a:pPr indent="0" algn="l">
              <a:lnSpc>
                <a:spcPct val="150000"/>
              </a:lnSpc>
              <a:buFont typeface="Wingdings" panose="05000000000000000000" charset="0"/>
              <a:buNone/>
            </a:pPr>
            <a:r>
              <a:rPr lang="zh-CN" altLang="en-US" sz="1600" b="1" dirty="0">
                <a:solidFill>
                  <a:srgbClr val="00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参照药品建议：</a:t>
            </a:r>
            <a:r>
              <a: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无，</a:t>
            </a:r>
            <a:r>
              <a:rPr lang="zh-CN" altLang="en-US" sz="16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医保目录内无用于治疗“具有进行性表型的慢性纤维化性间质性肺疾病”</a:t>
            </a:r>
            <a:r>
              <a:rPr lang="zh-CN" sz="1600" kern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（PF-ILD）</a:t>
            </a:r>
            <a:r>
              <a:rPr lang="zh-CN" altLang="en-US" sz="16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的药品。</a:t>
            </a:r>
            <a:endParaRPr lang="zh-CN" altLang="en-US" sz="160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561975" y="1476375"/>
            <a:ext cx="11283315" cy="435991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13" name="表格 4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669290" y="1611630"/>
          <a:ext cx="10972165" cy="3969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4385"/>
                <a:gridCol w="2420620"/>
                <a:gridCol w="2426970"/>
                <a:gridCol w="4060190"/>
              </a:tblGrid>
              <a:tr h="304800">
                <a:tc>
                  <a:txBody>
                    <a:bodyPr/>
                    <a:p>
                      <a:pPr algn="ctr"/>
                      <a:r>
                        <a:rPr kumimoji="0" lang="zh-CN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Times New Roman" panose="02020603050405020304" pitchFamily="18" charset="0"/>
                        </a:rPr>
                        <a:t>通用名</a:t>
                      </a:r>
                      <a:endParaRPr kumimoji="0" lang="zh-CN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p>
                      <a:pPr indent="0">
                        <a:buNone/>
                      </a:pPr>
                      <a:r>
                        <a:rPr lang="zh-CN" sz="1400" b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乙磺酸尼达尼布软胶囊</a:t>
                      </a:r>
                      <a:endParaRPr kumimoji="0" lang="zh-CN" alt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宋体" panose="02010600030101010101" pitchFamily="2" charset="-122"/>
                        <a:sym typeface="+mn-ea"/>
                      </a:endParaRP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  <a:tr h="304800">
                <a:tc>
                  <a:txBody>
                    <a:bodyPr/>
                    <a:p>
                      <a:pPr algn="ctr"/>
                      <a:r>
                        <a:rPr kumimoji="0" lang="zh-CN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Times New Roman" panose="02020603050405020304" pitchFamily="18" charset="0"/>
                        </a:rPr>
                        <a:t>注册规格</a:t>
                      </a:r>
                      <a:endParaRPr kumimoji="0" lang="zh-CN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p>
                      <a:pPr indent="0">
                        <a:buNone/>
                      </a:pPr>
                      <a:r>
                        <a:rPr lang="en-US" altLang="zh-CN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100</a:t>
                      </a:r>
                      <a:r>
                        <a:rPr lang="en-US" altLang="zh-CN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mg/</a:t>
                      </a:r>
                      <a:r>
                        <a:rPr lang="zh-CN" altLang="en-US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粒</a:t>
                      </a:r>
                      <a:r>
                        <a:rPr lang="en-US" altLang="zh-CN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,150mg/</a:t>
                      </a:r>
                      <a:r>
                        <a:rPr lang="zh-CN" altLang="en-US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粒；</a:t>
                      </a:r>
                      <a:r>
                        <a:rPr lang="en-US" altLang="zh-CN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3</a:t>
                      </a:r>
                      <a:r>
                        <a:rPr lang="zh-CN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0粒/瓶</a:t>
                      </a:r>
                      <a:endParaRPr lang="zh-CN" altLang="en-US" sz="1400" dirty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  <a:tr h="838200">
                <a:tc>
                  <a:txBody>
                    <a:bodyPr/>
                    <a:p>
                      <a:pPr algn="ctr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适应症</a:t>
                      </a:r>
                      <a:endParaRPr kumimoji="0" lang="zh-CN" altLang="en-US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宋体" panose="02010600030101010101" pitchFamily="2" charset="-122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p>
                      <a:pPr marL="0" marR="0" lvl="0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①用于特发性肺纤维</a:t>
                      </a:r>
                      <a:r>
                        <a:rPr kumimoji="0" lang="en-US" altLang="zh-CN" sz="1400" b="0" i="0" u="none" strike="noStrike" cap="none" spc="0" normalizeH="0" baseline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化（IPF）。</a:t>
                      </a:r>
                      <a:endParaRPr kumimoji="0" lang="en-US" altLang="zh-CN" sz="1400" b="0" i="0" u="none" strike="noStrike" cap="none" spc="0" normalizeH="0" baseline="0">
                        <a:solidFill>
                          <a:srgbClr val="000000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40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②</a:t>
                      </a:r>
                      <a:r>
                        <a:rPr kumimoji="0" lang="en-US" altLang="zh-CN" sz="1400" b="0" i="0" u="none" strike="noStrike" cap="none" spc="0" normalizeH="0" baseline="0">
                          <a:solidFill>
                            <a:srgbClr val="00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用于系统性硬化病相关间质性肺疾病（SSc-ILD）</a:t>
                      </a:r>
                      <a:r>
                        <a:rPr kumimoji="0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。</a:t>
                      </a:r>
                      <a:endParaRPr kumimoji="0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sz="1600" kern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③</a:t>
                      </a:r>
                      <a:r>
                        <a:rPr kumimoji="0" sz="16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用于具有进行性表型的慢性纤维化性间质性肺疾病</a:t>
                      </a:r>
                      <a:r>
                        <a:rPr kumimoji="0" lang="zh-CN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。</a:t>
                      </a:r>
                      <a:endParaRPr kumimoji="0" lang="zh-CN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  <a:tr h="330200">
                <a:tc>
                  <a:txBody>
                    <a:bodyPr/>
                    <a:p>
                      <a:pPr algn="ctr"/>
                      <a:r>
                        <a:rPr kumimoji="0" 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现行医保支付</a:t>
                      </a:r>
                      <a:r>
                        <a:rPr kumimoji="0" 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范围</a:t>
                      </a:r>
                      <a:endParaRPr kumimoji="0" lang="zh-CN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p>
                      <a:pPr marL="0" marR="0" lvl="0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限特发性肺纤维化(IPF)或系统性硬化病相关间质性肺疾病(SSc-ILD)患者</a:t>
                      </a:r>
                      <a:r>
                        <a:rPr kumimoji="0" 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。</a:t>
                      </a:r>
                      <a:endParaRPr kumimoji="0" lang="zh-CN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  <a:tr h="518160">
                <a:tc>
                  <a:txBody>
                    <a:bodyPr/>
                    <a:p>
                      <a:pPr algn="ctr"/>
                      <a:r>
                        <a:rPr kumimoji="0" lang="zh-CN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kumimoji="0" lang="zh-CN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p>
                      <a:r>
                        <a:rPr kumimoji="0" sz="140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本品推荐剂量</a:t>
                      </a:r>
                      <a:r>
                        <a:rPr kumimoji="0" sz="140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为每次 150 mg，每日两次</a:t>
                      </a:r>
                      <a:r>
                        <a:rPr kumimoji="0" sz="140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，给药间隔大约为 12 小时</a:t>
                      </a:r>
                      <a:r>
                        <a:rPr kumimoji="0" lang="zh-CN" sz="140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。</a:t>
                      </a:r>
                      <a:endParaRPr kumimoji="0" lang="zh-CN" sz="140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r>
                        <a:rPr kumimoji="0" lang="zh-CN" sz="140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有轻度肝损伤的患者慎用，推荐尼达尼布剂量为100mg，每日两次，相隔约12小时，并与食物同服。</a:t>
                      </a:r>
                      <a:endParaRPr kumimoji="0" lang="zh-CN" sz="140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cPr/>
                </a:tc>
                <a:tc hMerge="1">
                  <a:tcPr/>
                </a:tc>
              </a:tr>
              <a:tr h="644525">
                <a:tc>
                  <a:txBody>
                    <a:bodyPr/>
                    <a:p>
                      <a:pPr algn="ctr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宋体" panose="02010600030101010101" pitchFamily="2" charset="-122"/>
                        </a:rPr>
                        <a:t>中国大陆首次上市时间</a:t>
                      </a:r>
                      <a:endParaRPr kumimoji="0" lang="zh-CN" altLang="en-US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宋体" panose="02010600030101010101" pitchFamily="2" charset="-122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r>
                        <a:rPr kumimoji="0" lang="zh-CN" sz="140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2017年9月</a:t>
                      </a:r>
                      <a:endParaRPr kumimoji="0" lang="zh-CN" sz="140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algn="ctr"/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Times New Roman" panose="02020603050405020304" pitchFamily="18" charset="0"/>
                        </a:rPr>
                        <a:t>目前大陆地区同通用名药品的上市情况</a:t>
                      </a:r>
                      <a:endParaRPr kumimoji="0" lang="zh-CN" altLang="en-US" sz="14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非独家，共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4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家</a:t>
                      </a:r>
                      <a:endParaRPr kumimoji="0" lang="zh-CN" altLang="en-US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8160">
                <a:tc>
                  <a:txBody>
                    <a:bodyPr/>
                    <a:p>
                      <a:pPr algn="ctr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全球首次上市时间</a:t>
                      </a:r>
                      <a:endParaRPr kumimoji="0" lang="zh-CN" altLang="en-US" sz="1400" b="0" i="0" u="none" strike="noStrike" kern="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algn="ctr"/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及国家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/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地区</a:t>
                      </a:r>
                      <a:endParaRPr lang="zh-CN" altLang="en-US" sz="1400" b="0" dirty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2014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年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10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月，美国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是否为</a:t>
                      </a:r>
                      <a:r>
                        <a:rPr kumimoji="0" lang="en-US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OTC</a:t>
                      </a:r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药品</a:t>
                      </a:r>
                      <a:endParaRPr lang="zh-CN" altLang="en-US" sz="1400" dirty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latin typeface="微软雅黑" panose="020B0503020204020204" charset="-122"/>
                          <a:ea typeface="微软雅黑" panose="020B0503020204020204" charset="-122"/>
                        </a:rPr>
                        <a:t>否</a:t>
                      </a:r>
                      <a:endParaRPr lang="zh-CN" altLang="en-US" sz="1400" dirty="0"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0540">
                <a:tc>
                  <a:txBody>
                    <a:bodyPr/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适应症发生重大变化时间</a:t>
                      </a:r>
                      <a:endParaRPr lang="zh-CN" altLang="en-US" sz="1400" b="1" dirty="0">
                        <a:solidFill>
                          <a:srgbClr val="FF0000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buClrTx/>
                        <a:buSzTx/>
                        <a:buFontTx/>
                        <a:buNone/>
                      </a:pPr>
                      <a:r>
                        <a:rPr kumimoji="0" lang="zh-CN" altLang="en-US" sz="16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2020年12月</a:t>
                      </a:r>
                      <a:endParaRPr kumimoji="0" lang="zh-CN" altLang="en-US" sz="16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申请调整支付</a:t>
                      </a:r>
                      <a:r>
                        <a:rPr lang="zh-CN" altLang="en-US" sz="1400" dirty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范围</a:t>
                      </a:r>
                      <a:endParaRPr lang="zh-CN" altLang="en-US" sz="1400" dirty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sz="1400" kern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增加“</a:t>
                      </a:r>
                      <a:r>
                        <a:rPr lang="zh-CN" sz="1400" kern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用于具有进行性表型的慢性纤维化性间质性肺疾病”（</a:t>
                      </a:r>
                      <a:r>
                        <a:rPr lang="zh-CN" sz="1400" kern="0" noProof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PF-ILD）</a:t>
                      </a:r>
                      <a:endParaRPr lang="zh-CN" sz="1400" kern="0" noProof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  <a:sym typeface="+mn-ea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" name="矩形: 圆角 3"/>
          <p:cNvSpPr/>
          <p:nvPr/>
        </p:nvSpPr>
        <p:spPr>
          <a:xfrm>
            <a:off x="0" y="2540"/>
            <a:ext cx="2595880" cy="337185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药品基本信息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1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/2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矩形 15"/>
          <p:cNvSpPr/>
          <p:nvPr/>
        </p:nvSpPr>
        <p:spPr>
          <a:xfrm>
            <a:off x="415925" y="356870"/>
            <a:ext cx="10936605" cy="63119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患者因疾病进展生命质量差，尼达尼布是</a:t>
            </a:r>
            <a:r>
              <a:rPr lang="zh-CN" altLang="en-US" sz="28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全球唯一</a:t>
            </a: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获批的治疗药物</a:t>
            </a:r>
            <a:endParaRPr lang="zh-CN" altLang="en-US" sz="2800" b="1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>
            <p:custDataLst>
              <p:tags r:id="rId4"/>
            </p:custDataLst>
          </p:nvPr>
        </p:nvSpPr>
        <p:spPr>
          <a:xfrm>
            <a:off x="590550" y="1376045"/>
            <a:ext cx="4569460" cy="502920"/>
          </a:xfrm>
          <a:prstGeom prst="rect">
            <a:avLst/>
          </a:prstGeom>
          <a:solidFill>
            <a:srgbClr val="184E78"/>
          </a:solidFill>
        </p:spPr>
        <p:txBody>
          <a:bodyPr wrap="square" rtlCol="0"/>
          <a:p>
            <a:pPr algn="ctr">
              <a:lnSpc>
                <a:spcPct val="130000"/>
              </a:lnSpc>
            </a:pPr>
            <a:r>
              <a:rPr lang="zh-CN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疾病基本</a:t>
            </a:r>
            <a:r>
              <a:rPr lang="zh-CN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情况</a:t>
            </a:r>
            <a:endParaRPr lang="zh-CN" b="1" dirty="0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27" name="文本框 26"/>
          <p:cNvSpPr txBox="1"/>
          <p:nvPr>
            <p:custDataLst>
              <p:tags r:id="rId5"/>
            </p:custDataLst>
          </p:nvPr>
        </p:nvSpPr>
        <p:spPr>
          <a:xfrm>
            <a:off x="847090" y="3645535"/>
            <a:ext cx="4450080" cy="378460"/>
          </a:xfrm>
          <a:prstGeom prst="rect">
            <a:avLst/>
          </a:prstGeom>
          <a:noFill/>
        </p:spPr>
        <p:txBody>
          <a:bodyPr wrap="square" rtlCol="0">
            <a:normAutofit fontScale="85000" lnSpcReduction="10000"/>
          </a:bodyPr>
          <a:p>
            <a:pPr algn="l">
              <a:lnSpc>
                <a:spcPct val="130000"/>
              </a:lnSpc>
            </a:pPr>
            <a:endParaRPr lang="zh-CN" altLang="en-US" sz="2000" dirty="0">
              <a:solidFill>
                <a:schemeClr val="accent1"/>
              </a:solidFill>
              <a:latin typeface="Arial" panose="020B0604020202020204" pitchFamily="34" charset="0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9" name="文本框 8"/>
          <p:cNvSpPr txBox="1"/>
          <p:nvPr>
            <p:custDataLst>
              <p:tags r:id="rId6"/>
            </p:custDataLst>
          </p:nvPr>
        </p:nvSpPr>
        <p:spPr>
          <a:xfrm>
            <a:off x="590550" y="1978025"/>
            <a:ext cx="11045190" cy="156845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shade val="50000"/>
              </a:schemeClr>
            </a:solidFill>
            <a:prstDash val="lgDash"/>
          </a:ln>
        </p:spPr>
        <p:txBody>
          <a:bodyPr wrap="square" rtlCol="0" anchor="t">
            <a:spAutoFit/>
          </a:bodyPr>
          <a:p>
            <a:pPr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altLang="zh-CN" sz="1600" b="1" noProof="0" dirty="0">
                <a:solidFill>
                  <a:srgbClr val="184E78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rPr>
              <a:t>PF-ILD</a:t>
            </a:r>
            <a:r>
              <a:rPr lang="zh-CN" altLang="en-US" sz="1600" b="1" noProof="0" dirty="0">
                <a:solidFill>
                  <a:srgbClr val="184E78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rPr>
              <a:t>患者</a:t>
            </a:r>
            <a:r>
              <a:rPr lang="zh-CN" altLang="en-US" sz="16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rPr>
              <a:t>生命质量更低</a:t>
            </a:r>
            <a:r>
              <a:rPr lang="en-US" altLang="zh-CN" sz="1600" b="1" baseline="30000" dirty="0"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cs typeface="+mn-ea"/>
                <a:sym typeface="Arial" panose="020B0604020202020204" pitchFamily="34" charset="0"/>
              </a:rPr>
              <a:t>1-2</a:t>
            </a:r>
            <a:endParaRPr lang="zh-CN" altLang="en-US" sz="1600" b="1" dirty="0">
              <a:solidFill>
                <a:srgbClr val="FF00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微软雅黑" panose="020B0503020204020204" charset="-122"/>
              <a:cs typeface="+mn-ea"/>
              <a:sym typeface="Arial" panose="020B0604020202020204" pitchFamily="34" charset="0"/>
            </a:endParaRPr>
          </a:p>
          <a:p>
            <a:pPr marL="511810" lvl="1" indent="-2203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PF-ILD</a:t>
            </a:r>
            <a:r>
              <a:rPr lang="en-US" sz="16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是</a:t>
            </a:r>
            <a:r>
              <a:rPr lang="en-US" sz="16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一种进行性、不可逆的具有严重致残性、致命性的肺部疾病</a:t>
            </a:r>
            <a:r>
              <a:rPr lang="zh-CN" altLang="en-US" sz="16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。</a:t>
            </a:r>
            <a:endParaRPr lang="zh-CN" altLang="en-US" sz="1600" b="1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marL="511810" lvl="1" indent="-2203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患者在呼吸困难、咳嗽和疲劳症状更明显，影响患者的生命质量：日常生活（</a:t>
            </a:r>
            <a:r>
              <a:rPr lang="en-US" altLang="zh-CN" sz="160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&gt;89%</a:t>
            </a:r>
            <a:r>
              <a:rPr lang="zh-CN" altLang="en-US" sz="160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难以完成家务）。</a:t>
            </a:r>
            <a:endParaRPr lang="zh-CN" altLang="en-US" sz="1600" noProof="0" dirty="0">
              <a:ln>
                <a:noFill/>
              </a:ln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marL="511810" lvl="1" indent="-22034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ILD患者通常在症状出现9-12个月后才确诊PF-ILD，确诊后患者平均生存时间为30-45个月。</a:t>
            </a:r>
            <a:endParaRPr lang="zh-CN" altLang="en-US" sz="1600" b="1" noProof="0" dirty="0">
              <a:solidFill>
                <a:srgbClr val="184E78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uLnTx/>
              <a:uFillTx/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>
            <p:custDataLst>
              <p:tags r:id="rId7"/>
            </p:custDataLst>
          </p:nvPr>
        </p:nvSpPr>
        <p:spPr>
          <a:xfrm>
            <a:off x="591185" y="4725035"/>
            <a:ext cx="11045190" cy="827405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shade val="50000"/>
              </a:schemeClr>
            </a:solidFill>
            <a:prstDash val="lgDash"/>
          </a:ln>
        </p:spPr>
        <p:txBody>
          <a:bodyPr wrap="square" rtlCol="0" anchor="ctr" anchorCtr="0">
            <a:noAutofit/>
          </a:bodyPr>
          <a:p>
            <a:pPr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尼达尼布是</a:t>
            </a:r>
            <a:r>
              <a:rPr lang="zh-CN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目前全球</a:t>
            </a:r>
            <a:r>
              <a:rPr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唯一获</a:t>
            </a:r>
            <a:r>
              <a:rPr lang="zh-CN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批</a:t>
            </a: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治疗</a:t>
            </a: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</a:t>
            </a:r>
            <a:r>
              <a:rPr lang="en-US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F-ILD</a:t>
            </a:r>
            <a:r>
              <a:rPr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的抗</a:t>
            </a: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纤维</a:t>
            </a:r>
            <a:r>
              <a:rPr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化药物，</a:t>
            </a:r>
            <a:r>
              <a:rPr lang="zh-CN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解决临床就该疾病无药可用的需求</a:t>
            </a: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。</a:t>
            </a:r>
            <a:endParaRPr lang="zh-CN" sz="1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39065" y="6424295"/>
            <a:ext cx="11214100" cy="368300"/>
          </a:xfrm>
          <a:prstGeom prst="rect">
            <a:avLst/>
          </a:prstGeom>
        </p:spPr>
        <p:txBody>
          <a:bodyPr wrap="square">
            <a:spAutoFit/>
          </a:bodyPr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GB" altLang="zh-CN" sz="900" b="0" u="none" strike="noStrike" kern="1200" cap="none" spc="0" normalizeH="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</a:t>
            </a:r>
            <a:r>
              <a:rPr kumimoji="0" lang="en-GB" altLang="zh-CN" sz="900" b="0" u="none" strike="noStrike" kern="1200" cap="none" spc="0" normalizeH="0" baseline="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、Cottin V, Teague R, Nicholson L, Langham S, Baldwin M.. Front Med (Lausanne). 2022;9:799912. Published 2022 Feb 1.</a:t>
            </a:r>
            <a:endParaRPr kumimoji="0" lang="en-GB" altLang="zh-CN" sz="900" b="0" u="none" strike="noStrike" kern="1200" cap="none" spc="0" normalizeH="0" baseline="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GB" altLang="zh-CN" sz="9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2、Simpson T, Barratt SL, Beirne P, Chaudhuri N, Crawshaw A, Crowley LE, et al.. Euro Respir J. (2021) 58:2100221.</a:t>
            </a:r>
            <a:endParaRPr kumimoji="0" lang="en-GB" altLang="zh-CN" sz="900" b="0" u="none" strike="noStrike" kern="1200" cap="none" spc="0" normalizeH="0" baseline="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2" name="文本框 1"/>
          <p:cNvSpPr txBox="1"/>
          <p:nvPr>
            <p:custDataLst>
              <p:tags r:id="rId8"/>
            </p:custDataLst>
          </p:nvPr>
        </p:nvSpPr>
        <p:spPr>
          <a:xfrm>
            <a:off x="590550" y="4123055"/>
            <a:ext cx="4569460" cy="502920"/>
          </a:xfrm>
          <a:prstGeom prst="rect">
            <a:avLst/>
          </a:prstGeom>
          <a:solidFill>
            <a:srgbClr val="184E78"/>
          </a:solidFill>
        </p:spPr>
        <p:txBody>
          <a:bodyPr wrap="square" rtlCol="0"/>
          <a:p>
            <a:pPr algn="ctr">
              <a:lnSpc>
                <a:spcPct val="130000"/>
              </a:lnSpc>
            </a:pPr>
            <a:r>
              <a:rPr lang="zh-CN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临床未被满足的</a:t>
            </a:r>
            <a:r>
              <a:rPr lang="zh-CN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需求</a:t>
            </a:r>
            <a:endParaRPr lang="zh-CN" b="1" dirty="0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rial" panose="020B0604020202020204" pitchFamily="34" charset="0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8" name="矩形: 圆角 3"/>
          <p:cNvSpPr/>
          <p:nvPr/>
        </p:nvSpPr>
        <p:spPr>
          <a:xfrm>
            <a:off x="0" y="0"/>
            <a:ext cx="2595880" cy="337185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药品基本信息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2/2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/>
          <p:cNvSpPr txBox="1"/>
          <p:nvPr/>
        </p:nvSpPr>
        <p:spPr>
          <a:xfrm>
            <a:off x="453390" y="342900"/>
            <a:ext cx="11578590" cy="11245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尼达尼布治疗</a:t>
            </a:r>
            <a:r>
              <a:rPr lang="en-US" altLang="zh-CN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PF-ILD</a:t>
            </a: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与IPF、SSc-ILD的不良事件类型相似，</a:t>
            </a:r>
            <a:endParaRPr lang="zh-CN" altLang="en-US" sz="2800" b="1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  <a:p>
            <a:pPr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28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不良反应发生率低</a:t>
            </a: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，</a:t>
            </a:r>
            <a:r>
              <a:rPr lang="zh-CN" altLang="en-US" sz="28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可逆可控</a:t>
            </a:r>
            <a:endParaRPr lang="zh-CN" altLang="en-US" sz="2800" b="1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452755" y="1628140"/>
            <a:ext cx="11249660" cy="2445385"/>
          </a:xfrm>
          <a:prstGeom prst="rect">
            <a:avLst/>
          </a:prstGeom>
          <a:noFill/>
          <a:ln w="12700" cmpd="thickThin">
            <a:solidFill>
              <a:schemeClr val="accent1">
                <a:shade val="50000"/>
              </a:schemeClr>
            </a:solidFill>
            <a:prstDash val="lgDash"/>
          </a:ln>
        </p:spPr>
        <p:txBody>
          <a:bodyPr wrap="square" rtlCol="0" anchor="t">
            <a:spAutoFit/>
          </a:bodyPr>
          <a:p>
            <a:pPr indent="-1224280" algn="l" fontAlgn="base">
              <a:lnSpc>
                <a:spcPct val="150000"/>
              </a:lnSpc>
            </a:pPr>
            <a:r>
              <a:rPr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尼达尼布</a:t>
            </a:r>
            <a:r>
              <a:rPr sz="18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最常见不良事件包括</a:t>
            </a:r>
            <a:r>
              <a:rPr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腹泻、恶心和呕吐、腹痛、食欲减退、体重下降和肝酶升高</a:t>
            </a:r>
            <a:r>
              <a:rPr lang="en-US" baseline="300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1-2</a:t>
            </a:r>
            <a:r>
              <a:rPr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。</a:t>
            </a:r>
            <a:endParaRPr sz="1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pPr indent="-1224280" algn="l" fontAlgn="base">
              <a:lnSpc>
                <a:spcPct val="150000"/>
              </a:lnSpc>
            </a:pPr>
            <a:r>
              <a:rPr sz="1600" b="1" dirty="0">
                <a:solidFill>
                  <a:srgbClr val="17489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腹泻</a:t>
            </a:r>
            <a:r>
              <a:rPr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</a:t>
            </a:r>
            <a:endParaRPr sz="1600" b="1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pPr indent="-1224280" algn="l" fontAlgn="base">
              <a:lnSpc>
                <a:spcPct val="150000"/>
              </a:lnSpc>
            </a:pPr>
            <a:r>
              <a:rPr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在临床试验中，腹泻是最常见的胃肠道事件。</a:t>
            </a:r>
            <a:r>
              <a:rPr sz="1600" b="1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 </a:t>
            </a:r>
            <a:r>
              <a:rPr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大多数患者为轻度至中度</a:t>
            </a:r>
            <a:r>
              <a:rPr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。 超过三分之二的患者腹泻的首次发生是在治疗的前三个月。大多数患者可以通过止泻治疗，降低剂量或中断治疗来控制</a:t>
            </a: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。</a:t>
            </a:r>
            <a:endParaRPr lang="zh-CN" sz="1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pPr indent="-1224280" algn="l" fontAlgn="base">
              <a:lnSpc>
                <a:spcPct val="150000"/>
              </a:lnSpc>
            </a:pPr>
            <a:r>
              <a:rPr lang="zh-CN" sz="1600" b="1" dirty="0">
                <a:solidFill>
                  <a:srgbClr val="174892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肝酶升高</a:t>
            </a:r>
            <a:endParaRPr lang="zh-CN" sz="1600" b="1" dirty="0">
              <a:solidFill>
                <a:srgbClr val="174892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  <a:p>
            <a:pPr indent="-1224280" algn="l" fontAlgn="base">
              <a:lnSpc>
                <a:spcPct val="150000"/>
              </a:lnSpc>
            </a:pP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肝酶的升高是</a:t>
            </a:r>
            <a:r>
              <a:rPr lang="zh-CN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可逆</a:t>
            </a:r>
            <a:r>
              <a:rPr lang="zh-CN" sz="16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的，并且与具有临床表现的肝脏疾病没有关联。</a:t>
            </a:r>
            <a:endParaRPr lang="zh-CN" sz="16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lt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453390" y="4542155"/>
            <a:ext cx="11249025" cy="1279525"/>
            <a:chOff x="1345" y="2467"/>
            <a:chExt cx="13865" cy="2540"/>
          </a:xfrm>
        </p:grpSpPr>
        <p:sp>
          <p:nvSpPr>
            <p:cNvPr id="20" name="矩形 19"/>
            <p:cNvSpPr/>
            <p:nvPr/>
          </p:nvSpPr>
          <p:spPr>
            <a:xfrm>
              <a:off x="1345" y="2467"/>
              <a:ext cx="2930" cy="25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95%</a:t>
              </a: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患者</a:t>
              </a:r>
              <a:endPara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多为轻到中度腹泻</a:t>
              </a: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5111" y="2467"/>
              <a:ext cx="2809" cy="25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大部分腹泻发生在</a:t>
              </a: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治疗的</a:t>
              </a:r>
              <a:r>
                <a:rPr kumimoji="0" lang="zh-CN" altLang="en-US" sz="1200" b="1" i="0" u="none" strike="noStrike" kern="0" cap="none" spc="0" normalizeH="0" baseline="0" noProof="0" dirty="0">
                  <a:ln w="0"/>
                  <a:solidFill>
                    <a:prstClr val="black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前</a:t>
              </a:r>
              <a:r>
                <a:rPr kumimoji="0" lang="en-US" altLang="zh-CN" sz="2800" b="1" i="0" u="none" strike="noStrike" kern="0" cap="none" spc="0" normalizeH="0" baseline="0" noProof="0" dirty="0">
                  <a:ln w="0"/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3</a:t>
              </a:r>
              <a:r>
                <a:rPr kumimoji="0" lang="zh-CN" altLang="en-US" sz="2800" b="1" i="0" u="none" strike="noStrike" kern="0" cap="none" spc="0" normalizeH="0" baseline="0" noProof="0" dirty="0">
                  <a:ln w="0"/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个月</a:t>
              </a:r>
              <a:endParaRPr kumimoji="0" lang="en-US" altLang="zh-CN" sz="14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22" name="矩形 21"/>
            <p:cNvSpPr/>
            <p:nvPr/>
          </p:nvSpPr>
          <p:spPr>
            <a:xfrm>
              <a:off x="8635" y="2467"/>
              <a:ext cx="2930" cy="2540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11%</a:t>
              </a: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患者</a:t>
              </a:r>
              <a:endPara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因腹泻减量</a:t>
              </a: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23" name="矩形 22"/>
            <p:cNvSpPr/>
            <p:nvPr/>
          </p:nvSpPr>
          <p:spPr>
            <a:xfrm>
              <a:off x="12279" y="2467"/>
              <a:ext cx="2931" cy="2539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9525" cap="flat" cmpd="sng" algn="ctr">
              <a:noFill/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5%</a:t>
              </a: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患者</a:t>
              </a:r>
              <a:endParaRPr kumimoji="0" lang="en-US" altLang="zh-CN" sz="12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marR="0" lvl="0" indent="0" algn="ctr" defTabSz="91440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E55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因腹泻停药</a:t>
              </a:r>
              <a:endParaRPr kumimoji="0" lang="zh-CN" alt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1E55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</p:grpSp>
      <p:sp>
        <p:nvSpPr>
          <p:cNvPr id="4" name="矩形: 圆角 3"/>
          <p:cNvSpPr/>
          <p:nvPr/>
        </p:nvSpPr>
        <p:spPr>
          <a:xfrm>
            <a:off x="0" y="0"/>
            <a:ext cx="2235200" cy="314960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安全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186055" y="6408420"/>
            <a:ext cx="7605395" cy="460375"/>
          </a:xfrm>
          <a:prstGeom prst="rect">
            <a:avLst/>
          </a:prstGeom>
        </p:spPr>
        <p:txBody>
          <a:bodyPr wrap="square">
            <a:spAutoFit/>
          </a:bodyPr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+mn-lt"/>
              </a:rPr>
              <a:t>1、Flaherty KR, et al. N Engl J Med. 2019;381(18):1718-1727.</a:t>
            </a:r>
            <a:endParaRPr kumimoji="0" lang="da-DK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ea"/>
              <a:sym typeface="+mn-lt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+mn-lt"/>
              </a:rPr>
              <a:t>2、</a:t>
            </a:r>
            <a:r>
              <a:rPr kumimoji="0" lang="zh-CN" altLang="da-DK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+mn-lt"/>
              </a:rPr>
              <a:t>说明书</a:t>
            </a:r>
            <a:r>
              <a: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+mn-lt"/>
              </a:rPr>
              <a:t>. </a:t>
            </a:r>
            <a:endParaRPr kumimoji="0" lang="da-DK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ea"/>
              <a:sym typeface="+mn-lt"/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幻灯片" r:id="rId3" imgW="0" imgH="0" progId="TCLayout.ActiveDocument.1">
                  <p:embed/>
                </p:oleObj>
              </mc:Choice>
              <mc:Fallback>
                <p:oleObj name="think-cell 幻灯片" r:id="rId3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: 圆角 3"/>
          <p:cNvSpPr/>
          <p:nvPr/>
        </p:nvSpPr>
        <p:spPr>
          <a:xfrm>
            <a:off x="0" y="0"/>
            <a:ext cx="2581910" cy="314960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有效性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1/2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53085" y="392430"/>
            <a:ext cx="12258040" cy="91948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尼达尼布延缓</a:t>
            </a:r>
            <a:r>
              <a:rPr lang="en-US" altLang="zh-CN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PF-ILD</a:t>
            </a:r>
            <a:r>
              <a:rPr lang="zh-CN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患者</a:t>
            </a:r>
            <a:r>
              <a:rPr lang="en-US" altLang="zh-CN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FVC</a:t>
            </a:r>
            <a:r>
              <a:rPr lang="zh-CN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下降，</a:t>
            </a:r>
            <a:r>
              <a:rPr lang="zh-CN" altLang="en-US" sz="28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年</a:t>
            </a:r>
            <a:r>
              <a:rPr lang="en-US" altLang="zh-CN" sz="28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FVC</a:t>
            </a:r>
            <a:r>
              <a:rPr lang="zh-CN" altLang="en-US" sz="28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下降量减少</a:t>
            </a:r>
            <a:r>
              <a:rPr lang="en-US" altLang="zh-CN" sz="28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57%</a:t>
            </a:r>
            <a:br>
              <a:rPr lang="zh-CN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</a:br>
            <a:r>
              <a:rPr lang="zh-CN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急性加重或死亡</a:t>
            </a:r>
            <a:r>
              <a:rPr lang="zh-CN" altLang="en-US" sz="28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风险降低</a:t>
            </a:r>
            <a:r>
              <a:rPr lang="en-US" altLang="zh-CN" sz="28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33%</a:t>
            </a:r>
            <a:endParaRPr lang="en-US" altLang="zh-CN" sz="28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186055" y="6408420"/>
            <a:ext cx="7605395" cy="460375"/>
          </a:xfrm>
          <a:prstGeom prst="rect">
            <a:avLst/>
          </a:prstGeom>
        </p:spPr>
        <p:txBody>
          <a:bodyPr wrap="square">
            <a:spAutoFit/>
          </a:bodyPr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+mn-lt"/>
              </a:rPr>
              <a:t>1、Flaherty KR, et al. N Engl J Med. 2019;381(18):1718-1727.</a:t>
            </a:r>
            <a:endParaRPr kumimoji="0" lang="da-DK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ea"/>
              <a:sym typeface="+mn-lt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+mn-lt"/>
              </a:rPr>
              <a:t>2、Flaherty K R ,,et al.The European respiratory journal, 2022, . </a:t>
            </a:r>
            <a:endParaRPr kumimoji="0" lang="da-DK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ea"/>
              <a:sym typeface="+mn-lt"/>
            </a:endParaRPr>
          </a:p>
        </p:txBody>
      </p:sp>
      <p:graphicFrame>
        <p:nvGraphicFramePr>
          <p:cNvPr id="11" name="图表 10"/>
          <p:cNvGraphicFramePr/>
          <p:nvPr/>
        </p:nvGraphicFramePr>
        <p:xfrm>
          <a:off x="553085" y="2818765"/>
          <a:ext cx="5894705" cy="3550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pSp>
        <p:nvGrpSpPr>
          <p:cNvPr id="66" name="组合 65"/>
          <p:cNvGrpSpPr/>
          <p:nvPr/>
        </p:nvGrpSpPr>
        <p:grpSpPr>
          <a:xfrm>
            <a:off x="1261745" y="3599815"/>
            <a:ext cx="3061970" cy="1305135"/>
            <a:chOff x="1987" y="5802"/>
            <a:chExt cx="4822" cy="2055"/>
          </a:xfrm>
        </p:grpSpPr>
        <p:grpSp>
          <p:nvGrpSpPr>
            <p:cNvPr id="14" name="组合 13"/>
            <p:cNvGrpSpPr/>
            <p:nvPr/>
          </p:nvGrpSpPr>
          <p:grpSpPr>
            <a:xfrm rot="0">
              <a:off x="3720" y="5815"/>
              <a:ext cx="2249" cy="2042"/>
              <a:chOff x="3632" y="4900"/>
              <a:chExt cx="2160" cy="1969"/>
            </a:xfrm>
          </p:grpSpPr>
          <p:cxnSp>
            <p:nvCxnSpPr>
              <p:cNvPr id="2" name="直接连接符 1"/>
              <p:cNvCxnSpPr/>
              <p:nvPr/>
            </p:nvCxnSpPr>
            <p:spPr>
              <a:xfrm>
                <a:off x="4438" y="4900"/>
                <a:ext cx="0" cy="660"/>
              </a:xfrm>
              <a:prstGeom prst="line">
                <a:avLst/>
              </a:prstGeom>
              <a:ln w="19050" cmpd="sng">
                <a:solidFill>
                  <a:srgbClr val="202A57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" name="直接连接符 4"/>
              <p:cNvCxnSpPr/>
              <p:nvPr/>
            </p:nvCxnSpPr>
            <p:spPr>
              <a:xfrm>
                <a:off x="4438" y="6135"/>
                <a:ext cx="0" cy="734"/>
              </a:xfrm>
              <a:prstGeom prst="line">
                <a:avLst/>
              </a:prstGeom>
              <a:ln w="19050" cmpd="sng">
                <a:solidFill>
                  <a:srgbClr val="202A57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" name="文本框 5"/>
              <p:cNvSpPr txBox="1"/>
              <p:nvPr/>
            </p:nvSpPr>
            <p:spPr>
              <a:xfrm>
                <a:off x="3632" y="5561"/>
                <a:ext cx="2160" cy="474"/>
              </a:xfrm>
              <a:prstGeom prst="rect">
                <a:avLst/>
              </a:prstGeom>
              <a:noFill/>
            </p:spPr>
            <p:txBody>
              <a:bodyPr wrap="square" rtlCol="0" anchor="t">
                <a:spAutoFit/>
              </a:bodyPr>
              <a:p>
                <a:pPr marL="0" marR="0" lvl="0" indent="0" algn="ctr" defTabSz="914400" rtl="0" eaLnBrk="1" fontAlgn="auto" latinLnBrk="0" hangingPunct="1">
                  <a:lnSpc>
                    <a:spcPct val="12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1200" kern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Arial" panose="020B0604020202020204" pitchFamily="34" charset="0"/>
                  </a:rPr>
                  <a:t>∆</a:t>
                </a:r>
                <a:r>
                  <a:rPr lang="en-US" altLang="zh-CN" sz="1200" kern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Arial" panose="020B0604020202020204" pitchFamily="34" charset="0"/>
                  </a:rPr>
                  <a:t>=</a:t>
                </a:r>
                <a:r>
                  <a:rPr lang="it-IT" altLang="zh-CN" sz="1200" kern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Arial" panose="020B0604020202020204" pitchFamily="34" charset="0"/>
                  </a:rPr>
                  <a:t>107.0 mL/</a:t>
                </a:r>
                <a:r>
                  <a:rPr lang="zh-CN" altLang="en-US" sz="1200" kern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微软雅黑" panose="020B0503020204020204" charset="-122"/>
                    <a:ea typeface="微软雅黑" panose="020B0503020204020204" charset="-122"/>
                    <a:cs typeface="微软雅黑" panose="020B0503020204020204" charset="-122"/>
                    <a:sym typeface="Arial" panose="020B0604020202020204" pitchFamily="34" charset="0"/>
                  </a:rPr>
                  <a:t>年</a:t>
                </a:r>
                <a:endParaRPr lang="zh-CN" altLang="en-US" sz="1200" kern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Arial" panose="020B0604020202020204" pitchFamily="34" charset="0"/>
                </a:endParaRPr>
              </a:p>
            </p:txBody>
          </p:sp>
        </p:grpSp>
        <p:cxnSp>
          <p:nvCxnSpPr>
            <p:cNvPr id="17" name="直接连接符 16"/>
            <p:cNvCxnSpPr/>
            <p:nvPr/>
          </p:nvCxnSpPr>
          <p:spPr>
            <a:xfrm>
              <a:off x="4560" y="5802"/>
              <a:ext cx="2249" cy="0"/>
            </a:xfrm>
            <a:prstGeom prst="line">
              <a:avLst/>
            </a:prstGeom>
            <a:ln w="19050" cmpd="sng">
              <a:solidFill>
                <a:srgbClr val="202A5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/>
          </p:nvCxnSpPr>
          <p:spPr>
            <a:xfrm>
              <a:off x="3883" y="7838"/>
              <a:ext cx="677" cy="0"/>
            </a:xfrm>
            <a:prstGeom prst="line">
              <a:avLst/>
            </a:prstGeom>
            <a:ln w="19050" cmpd="sng">
              <a:solidFill>
                <a:srgbClr val="202A57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下箭头 19"/>
            <p:cNvSpPr/>
            <p:nvPr/>
          </p:nvSpPr>
          <p:spPr>
            <a:xfrm>
              <a:off x="3592" y="5802"/>
              <a:ext cx="500" cy="1540"/>
            </a:xfrm>
            <a:prstGeom prst="down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/>
            </a:p>
          </p:txBody>
        </p:sp>
        <p:sp>
          <p:nvSpPr>
            <p:cNvPr id="21" name="矩形 20"/>
            <p:cNvSpPr/>
            <p:nvPr/>
          </p:nvSpPr>
          <p:spPr>
            <a:xfrm>
              <a:off x="1987" y="6379"/>
              <a:ext cx="1658" cy="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0000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延缓</a:t>
              </a:r>
              <a:r>
                <a:rPr lang="en-US" altLang="zh-CN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FVC</a:t>
              </a:r>
              <a:r>
                <a:rPr lang="zh-CN" alt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下降率</a:t>
              </a:r>
              <a:endParaRPr lang="en-US" altLang="zh-CN" sz="14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/>
              <a:r>
                <a:rPr lang="en-US" altLang="zh-CN" sz="2400" b="1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57%</a:t>
              </a:r>
              <a:endParaRPr lang="en-US" altLang="zh-CN" sz="24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59" name="文本框 58"/>
          <p:cNvSpPr txBox="1"/>
          <p:nvPr>
            <p:custDataLst>
              <p:tags r:id="rId5"/>
            </p:custDataLst>
          </p:nvPr>
        </p:nvSpPr>
        <p:spPr>
          <a:xfrm>
            <a:off x="553085" y="1431290"/>
            <a:ext cx="11268075" cy="1346200"/>
          </a:xfrm>
          <a:prstGeom prst="rect">
            <a:avLst/>
          </a:prstGeom>
          <a:solidFill>
            <a:schemeClr val="bg1"/>
          </a:solidFill>
          <a:ln w="12700" cmpd="sng">
            <a:solidFill>
              <a:schemeClr val="accent1">
                <a:shade val="50000"/>
              </a:schemeClr>
            </a:solidFill>
            <a:prstDash val="lgDash"/>
          </a:ln>
        </p:spPr>
        <p:txBody>
          <a:bodyPr wrap="square" rtlCol="0" anchor="ctr" anchorCtr="0">
            <a:noAutofit/>
          </a:bodyPr>
          <a:p>
            <a:pPr marL="285750" indent="-285750">
              <a:lnSpc>
                <a:spcPct val="150000"/>
              </a:lnSpc>
              <a:buFont typeface="Wingdings" panose="05000000000000000000" charset="0"/>
              <a:buChar char=""/>
            </a:pPr>
            <a:r>
              <a:rPr 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尼达尼布延缓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PF-ILD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患者</a:t>
            </a:r>
            <a:r>
              <a:rPr 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肺功能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FVC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下降，延缓下降</a:t>
            </a:r>
            <a:r>
              <a:rPr lang="en-US" altLang="zh-CN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107.0mL/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年，与安慰剂相比降低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57%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。尼达尼布</a:t>
            </a:r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降低首次急性加重或死亡风险33%。</a:t>
            </a:r>
            <a:endParaRPr lang="zh-CN" altLang="en-US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charset="0"/>
              <a:buChar char=""/>
            </a:pP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尼达尼布是</a:t>
            </a:r>
            <a:r>
              <a:rPr lang="zh-CN" altLang="en-US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唯一有确凿询证医学证据的PF-ILD治疗药物</a:t>
            </a:r>
            <a:r>
              <a:rPr lang="zh-CN" altLang="en-US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。</a:t>
            </a:r>
            <a:endParaRPr lang="zh-CN" altLang="en-US" b="1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6290945" y="3020695"/>
            <a:ext cx="5901055" cy="3161665"/>
            <a:chOff x="9953" y="4791"/>
            <a:chExt cx="9293" cy="4979"/>
          </a:xfrm>
        </p:grpSpPr>
        <p:pic>
          <p:nvPicPr>
            <p:cNvPr id="62" name="图片 6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97" y="5703"/>
              <a:ext cx="9049" cy="4049"/>
            </a:xfrm>
            <a:prstGeom prst="rect">
              <a:avLst/>
            </a:prstGeom>
          </p:spPr>
        </p:pic>
        <p:sp>
          <p:nvSpPr>
            <p:cNvPr id="53" name="矩形 52"/>
            <p:cNvSpPr/>
            <p:nvPr/>
          </p:nvSpPr>
          <p:spPr>
            <a:xfrm>
              <a:off x="11657" y="4791"/>
              <a:ext cx="6129" cy="475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>
              <a:solidFill>
                <a:srgbClr val="000000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整体人群急性加重或死亡风险</a:t>
              </a:r>
              <a:r>
                <a:rPr kumimoji="0" lang="en-US" altLang="zh-CN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2</a:t>
              </a:r>
              <a:endParaRPr kumimoji="0" lang="en-US" altLang="zh-CN" sz="1600" b="1" i="0" u="none" strike="noStrike" kern="1200" cap="none" spc="0" normalizeH="0" baseline="30000" noProof="0" dirty="0">
                <a:ln>
                  <a:noFill/>
                </a:ln>
                <a:solidFill>
                  <a:srgbClr val="202A57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54" name="TextBox 4"/>
            <p:cNvSpPr txBox="1"/>
            <p:nvPr/>
          </p:nvSpPr>
          <p:spPr>
            <a:xfrm>
              <a:off x="16742" y="5715"/>
              <a:ext cx="2499" cy="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ctr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尼达尼布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02A57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55" name="TextBox 5"/>
            <p:cNvSpPr txBox="1"/>
            <p:nvPr/>
          </p:nvSpPr>
          <p:spPr>
            <a:xfrm>
              <a:off x="17390" y="6970"/>
              <a:ext cx="1432" cy="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marL="0" marR="0" lvl="0" indent="0" algn="l" defTabSz="3429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888A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charset="-122"/>
                  <a:cs typeface="Arial" panose="020B0604020202020204" pitchFamily="34" charset="0"/>
                </a:rPr>
                <a:t>安慰剂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888A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56" name="矩形 55"/>
            <p:cNvSpPr/>
            <p:nvPr/>
          </p:nvSpPr>
          <p:spPr>
            <a:xfrm rot="16200000">
              <a:off x="8689" y="6968"/>
              <a:ext cx="3255" cy="72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Kaplan-Meier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估计的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ILD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02A57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首次急性加重或生存曲线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(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％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)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202A57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57" name="矩形 56"/>
            <p:cNvSpPr/>
            <p:nvPr/>
          </p:nvSpPr>
          <p:spPr>
            <a:xfrm>
              <a:off x="9953" y="9412"/>
              <a:ext cx="8900" cy="35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anchor="ctr">
              <a:noAutofit/>
            </a:bodyPr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时间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(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天</a:t>
              </a:r>
              <a:r>
                <a:rPr kumimoji="0" lang="en-US" altLang="zh-CN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202A57"/>
                  </a:solidFill>
                  <a:effectLst/>
                  <a:uLnTx/>
                  <a:uFillTx/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</a:rPr>
                <a:t>)</a:t>
              </a:r>
              <a:endParaRPr kumimoji="0" lang="zh-CN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202A57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endParaRPr>
            </a:p>
          </p:txBody>
        </p:sp>
        <p:sp>
          <p:nvSpPr>
            <p:cNvPr id="61" name="矩形 60"/>
            <p:cNvSpPr/>
            <p:nvPr/>
          </p:nvSpPr>
          <p:spPr>
            <a:xfrm>
              <a:off x="14020" y="6487"/>
              <a:ext cx="2868" cy="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0000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en-US" altLang="zh-CN" sz="24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/>
              <a:r>
                <a:rPr lang="zh-CN" alt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观察</a:t>
              </a:r>
              <a:r>
                <a:rPr lang="en-US" altLang="zh-CN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24</a:t>
              </a:r>
              <a:r>
                <a:rPr lang="zh-CN" altLang="en-US" sz="1400" b="1">
                  <a:solidFill>
                    <a:schemeClr val="tx1">
                      <a:lumMod val="85000"/>
                      <a:lumOff val="1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个月，急性加重或死亡风险</a:t>
              </a:r>
              <a:endParaRPr lang="zh-CN" altLang="en-US" sz="1400" b="1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  <a:p>
              <a:pPr algn="ctr"/>
              <a:r>
                <a:rPr lang="zh-CN" altLang="en-US" sz="2400" b="1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降低</a:t>
              </a:r>
              <a:r>
                <a:rPr lang="en-US" altLang="zh-CN" sz="2400" b="1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33%</a:t>
              </a:r>
              <a:endParaRPr lang="en-US" altLang="zh-CN" sz="24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cxnSp>
        <p:nvCxnSpPr>
          <p:cNvPr id="63" name="直线连接符 14"/>
          <p:cNvCxnSpPr/>
          <p:nvPr/>
        </p:nvCxnSpPr>
        <p:spPr>
          <a:xfrm>
            <a:off x="5735955" y="2899410"/>
            <a:ext cx="0" cy="329628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/>
          <p:cNvSpPr txBox="1"/>
          <p:nvPr/>
        </p:nvSpPr>
        <p:spPr>
          <a:xfrm>
            <a:off x="5969000" y="6111875"/>
            <a:ext cx="597408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l"/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FVC</a:t>
            </a:r>
            <a:r>
              <a:rPr lang="zh-CN" altLang="en-US" sz="1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：</a:t>
            </a:r>
            <a:r>
              <a:rPr lang="zh-CN" sz="1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肺功能</a:t>
            </a:r>
            <a:br>
              <a:rPr lang="zh-CN" sz="1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</a:br>
            <a:r>
              <a:rPr lang="en-US" altLang="zh-CN" sz="1200" dirty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HR  : 风险函数比，是生存分析资料中用于估计因为某种因素的存在而使死亡缓解/复发等风险改变的倍数。</a:t>
            </a:r>
            <a:endParaRPr lang="en-US" altLang="zh-CN" sz="1200" dirty="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7161530" y="5179060"/>
            <a:ext cx="925195" cy="1771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zh-CN" sz="140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HR=0.67</a:t>
            </a:r>
            <a:endParaRPr lang="en-US" altLang="zh-CN" sz="140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9" name="直接箭头连接符 8"/>
          <p:cNvCxnSpPr/>
          <p:nvPr/>
        </p:nvCxnSpPr>
        <p:spPr>
          <a:xfrm>
            <a:off x="10981690" y="4016375"/>
            <a:ext cx="0" cy="220980"/>
          </a:xfrm>
          <a:prstGeom prst="straightConnector1">
            <a:avLst/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>
            <p:ph type="title" idx="4294967295"/>
          </p:nvPr>
        </p:nvSpPr>
        <p:spPr>
          <a:xfrm>
            <a:off x="480060" y="444500"/>
            <a:ext cx="10626725" cy="734695"/>
          </a:xfrm>
        </p:spPr>
        <p:txBody>
          <a:bodyPr>
            <a:noAutofit/>
          </a:bodyPr>
          <a:p>
            <a:pPr>
              <a:lnSpc>
                <a:spcPct val="100000"/>
              </a:lnSpc>
            </a:pPr>
            <a:r>
              <a:rPr lang="zh-CN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指南推荐：</a:t>
            </a:r>
            <a:r>
              <a:rPr sz="2800" b="1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抗纤维化治疗</a:t>
            </a:r>
            <a:r>
              <a:rPr lang="zh-CN" sz="2800" b="1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能延缓</a:t>
            </a:r>
            <a:r>
              <a:rPr lang="en-US" altLang="zh-CN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F-ILD</a:t>
            </a:r>
            <a:r>
              <a:rPr lang="zh-CN" altLang="en-US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患者</a:t>
            </a:r>
            <a:r>
              <a:rPr sz="2800" b="1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肺功能下降</a:t>
            </a:r>
            <a:r>
              <a:rPr lang="zh-CN" sz="280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。</a:t>
            </a:r>
            <a:br>
              <a:rPr lang="zh-CN" sz="280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</a:br>
            <a:r>
              <a:rPr lang="zh-CN" sz="28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尼达尼布有更可靠的数据证明疗效</a:t>
            </a:r>
            <a:r>
              <a:rPr lang="zh-CN" sz="2800" dirty="0">
                <a:latin typeface="微软雅黑" panose="020B0503020204020204" charset="-122"/>
                <a:ea typeface="微软雅黑" panose="020B0503020204020204" charset="-122"/>
                <a:sym typeface="Arial" panose="020B0604020202020204" pitchFamily="34" charset="0"/>
              </a:rPr>
              <a:t>。</a:t>
            </a:r>
            <a:endParaRPr lang="zh-CN" altLang="en-US" sz="2800" b="1" dirty="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5" name="矩形: 圆角 3"/>
          <p:cNvSpPr/>
          <p:nvPr/>
        </p:nvSpPr>
        <p:spPr>
          <a:xfrm>
            <a:off x="0" y="-1270"/>
            <a:ext cx="2425065" cy="314960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有效性</a:t>
            </a: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2/2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6922135" y="1363345"/>
            <a:ext cx="4796155" cy="583565"/>
          </a:xfrm>
          <a:prstGeom prst="rect">
            <a:avLst/>
          </a:prstGeom>
          <a:solidFill>
            <a:srgbClr val="184E78"/>
          </a:solidFill>
        </p:spPr>
        <p:txBody>
          <a:bodyPr wrap="square" rtlCol="0">
            <a:spAutoFit/>
          </a:bodyPr>
          <a:p>
            <a:pPr algn="ctr"/>
            <a:r>
              <a:rPr lang="zh-CN" altLang="en-US" sz="1600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上市申请时递交的临床试验报告中有效性描述节选</a:t>
            </a:r>
            <a:endParaRPr lang="zh-CN" altLang="en-US" sz="1600" b="1" dirty="0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  <a:p>
            <a:pPr algn="ctr"/>
            <a:r>
              <a:rPr lang="zh-CN" altLang="en-US" sz="1600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CDE未发布上市审评报告</a:t>
            </a:r>
            <a:endParaRPr lang="zh-CN" altLang="en-US" sz="1600" b="1" dirty="0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922135" y="2131060"/>
            <a:ext cx="4795520" cy="3553460"/>
          </a:xfrm>
          <a:prstGeom prst="rect">
            <a:avLst/>
          </a:prstGeom>
          <a:noFill/>
          <a:ln w="9525" cmpd="thickThin">
            <a:solidFill>
              <a:srgbClr val="184E78"/>
            </a:solidFill>
            <a:prstDash val="lgDash"/>
          </a:ln>
        </p:spPr>
        <p:txBody>
          <a:bodyPr wrap="square" rtlCol="0">
            <a:spAutoFit/>
          </a:bodyPr>
          <a:p>
            <a:pPr>
              <a:lnSpc>
                <a:spcPct val="150000"/>
              </a:lnSpc>
            </a:pPr>
            <a:endParaRPr lang="zh-CN" altLang="en-US" sz="1600"/>
          </a:p>
          <a:p>
            <a:pPr>
              <a:lnSpc>
                <a:spcPct val="150000"/>
              </a:lnSpc>
            </a:pPr>
            <a:r>
              <a:rPr lang="zh-CN" altLang="en-US" sz="1600"/>
              <a:t>“具有进行性表型的慢性纤维化性间质性肺疾病”的 III 期国际多中心临床试验：从整体试验结果看，通过 1 年期的给药，可明显减缓患者的肺功能恶化（差异 106.96 mL/年），使</a:t>
            </a:r>
            <a:r>
              <a:rPr lang="zh-CN" altLang="en-US" b="1">
                <a:solidFill>
                  <a:srgbClr val="FF0000"/>
                </a:solidFill>
              </a:rPr>
              <a:t>首次 ILD 急性加重或死亡风险降低了32%</a:t>
            </a:r>
            <a:r>
              <a:rPr lang="zh-CN" altLang="en-US" sz="1600"/>
              <a:t>，</a:t>
            </a:r>
            <a:r>
              <a:rPr lang="zh-CN" altLang="en-US" b="1">
                <a:solidFill>
                  <a:srgbClr val="FF0000"/>
                </a:solidFill>
              </a:rPr>
              <a:t>使死亡风险降低了 30%</a:t>
            </a:r>
            <a:r>
              <a:rPr lang="zh-CN" altLang="en-US" sz="1600"/>
              <a:t>。试验结果提示本品在明显抑制肺功能恶化的同时可以改善临床结局。</a:t>
            </a:r>
            <a:endParaRPr lang="zh-CN" altLang="en-US" sz="1600"/>
          </a:p>
          <a:p>
            <a:pPr>
              <a:lnSpc>
                <a:spcPct val="150000"/>
              </a:lnSpc>
            </a:pPr>
            <a:endParaRPr lang="zh-CN" altLang="en-US" sz="1600"/>
          </a:p>
        </p:txBody>
      </p:sp>
      <p:graphicFrame>
        <p:nvGraphicFramePr>
          <p:cNvPr id="7" name="表格 6"/>
          <p:cNvGraphicFramePr/>
          <p:nvPr>
            <p:custDataLst>
              <p:tags r:id="rId1"/>
            </p:custDataLst>
          </p:nvPr>
        </p:nvGraphicFramePr>
        <p:xfrm>
          <a:off x="522605" y="1374775"/>
          <a:ext cx="6129020" cy="5664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76220"/>
                <a:gridCol w="3352800"/>
              </a:tblGrid>
              <a:tr h="566420"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zh-CN" altLang="en-US" sz="1600" b="1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仿宋" charset="0"/>
                        </a:rPr>
                        <a:t>指南名称</a:t>
                      </a:r>
                      <a:endParaRPr lang="zh-CN" altLang="en-US" sz="1600" b="1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仿宋" charset="0"/>
                      </a:endParaRPr>
                    </a:p>
                  </a:txBody>
                  <a:tcPr marL="68580" marR="68580" marT="0" marB="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84E78"/>
                    </a:solidFill>
                  </a:tcPr>
                </a:tc>
                <a:tc>
                  <a:txBody>
                    <a:bodyPr/>
                    <a:p>
                      <a:pPr indent="0" algn="ctr">
                        <a:buNone/>
                      </a:pPr>
                      <a:r>
                        <a:rPr lang="en-US" sz="1600" b="1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仿宋" charset="0"/>
                        </a:rPr>
                        <a:t>文献表述</a:t>
                      </a:r>
                      <a:endParaRPr lang="en-US" altLang="en-US" sz="1600" b="1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仿宋" charset="0"/>
                      </a:endParaRPr>
                    </a:p>
                  </a:txBody>
                  <a:tcPr marL="68580" marR="68580" marT="0" marB="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84E78"/>
                    </a:solidFill>
                  </a:tcPr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202565" y="6125210"/>
            <a:ext cx="923417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r>
              <a:rPr lang="en-US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1</a:t>
            </a:r>
            <a:r>
              <a:rPr lang="zh-CN" altLang="en-US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、</a:t>
            </a:r>
            <a:r>
              <a:rPr lang="en-US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PF-ILD</a:t>
            </a:r>
            <a:r>
              <a:rPr lang="zh-CN" altLang="en-US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：</a:t>
            </a:r>
            <a:r>
              <a:rPr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具有进行性表型的慢性纤维化性间质性肺疾病</a:t>
            </a:r>
            <a:r>
              <a:rPr lang="zh-CN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，该疾病</a:t>
            </a:r>
            <a:r>
              <a:rPr lang="en-US" altLang="zh-CN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2022</a:t>
            </a:r>
            <a:r>
              <a:rPr lang="zh-CN" altLang="en-US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年2022 AST/ERS指南建议命名</a:t>
            </a:r>
            <a:r>
              <a:rPr lang="en-US" altLang="zh-CN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PPF</a:t>
            </a:r>
            <a:r>
              <a:rPr lang="zh-CN" altLang="en-US" sz="1400" kern="0" noProof="0" dirty="0">
                <a:ln>
                  <a:noFill/>
                </a:ln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宋体" panose="02010600030101010101" pitchFamily="2" charset="-122"/>
                <a:sym typeface="+mn-ea"/>
              </a:rPr>
              <a:t>；</a:t>
            </a:r>
            <a:endParaRPr lang="zh-CN" altLang="en-US" sz="1400" kern="0" noProof="0" dirty="0">
              <a:ln>
                <a:noFill/>
              </a:ln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cs typeface="宋体" panose="02010600030101010101" pitchFamily="2" charset="-122"/>
              <a:sym typeface="+mn-ea"/>
            </a:endParaRPr>
          </a:p>
          <a:p>
            <a:r>
              <a:rPr lang="en-US" altLang="zh-CN" sz="1400" dirty="0"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2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、美国胸科学会 (ATS)、欧洲呼吸学会 (ERS)、日本呼吸学会 (JRS)、拉丁美洲胸科协会（</a:t>
            </a:r>
            <a:r>
              <a:rPr lang="en-US" altLang="zh-CN" sz="1400" dirty="0"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ALAT</a:t>
            </a:r>
            <a:r>
              <a:rPr lang="zh-CN" altLang="en-US" sz="1400" dirty="0">
                <a:latin typeface="Arial" panose="020B0604020202020204" pitchFamily="34" charset="0"/>
                <a:ea typeface="微软雅黑" panose="020B0503020204020204" charset="-122"/>
                <a:sym typeface="Arial" panose="020B0604020202020204" pitchFamily="34" charset="0"/>
              </a:rPr>
              <a:t>）</a:t>
            </a:r>
            <a:endParaRPr lang="zh-CN" altLang="en-US" sz="1400" kern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宋体" panose="02010600030101010101" pitchFamily="2" charset="-122"/>
              <a:sym typeface="Arial" panose="020B0604020202020204" pitchFamily="34" charset="0"/>
            </a:endParaRPr>
          </a:p>
        </p:txBody>
      </p:sp>
      <p:graphicFrame>
        <p:nvGraphicFramePr>
          <p:cNvPr id="5" name="表格 4"/>
          <p:cNvGraphicFramePr/>
          <p:nvPr>
            <p:custDataLst>
              <p:tags r:id="rId2"/>
            </p:custDataLst>
          </p:nvPr>
        </p:nvGraphicFramePr>
        <p:xfrm>
          <a:off x="480060" y="2135505"/>
          <a:ext cx="6129020" cy="35839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37815"/>
                <a:gridCol w="3291205"/>
              </a:tblGrid>
              <a:tr h="1463040">
                <a:tc>
                  <a:txBody>
                    <a:bodyPr/>
                    <a:p>
                      <a:pPr indent="0" algn="ctr">
                        <a:lnSpc>
                          <a:spcPct val="150000"/>
                        </a:lnSpc>
                        <a:buNone/>
                      </a:pPr>
                      <a:r>
                        <a:rPr lang="en-US" altLang="zh-CN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2022</a:t>
                      </a:r>
                      <a:r>
                        <a:rPr lang="zh-CN" altLang="en-US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年ATS联合ERS、JRS、</a:t>
                      </a:r>
                      <a:r>
                        <a:rPr lang="en-US" altLang="zh-CN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ALAT</a:t>
                      </a:r>
                      <a:r>
                        <a:rPr lang="zh-CN" altLang="en-US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：</a:t>
                      </a:r>
                      <a:r>
                        <a:rPr lang="zh-CN" altLang="en-US" sz="1600" b="1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成人</a:t>
                      </a:r>
                      <a:r>
                        <a:rPr lang="en-US" altLang="zh-CN" sz="1600" b="1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IPF</a:t>
                      </a:r>
                      <a:r>
                        <a:rPr lang="zh-CN" altLang="en-US" sz="1600" b="1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和进行性肺纤维化管理指南</a:t>
                      </a:r>
                      <a:endParaRPr lang="zh-CN" altLang="en-US" sz="1600" b="1" dirty="0">
                        <a:latin typeface="微软雅黑" panose="020B0503020204020204" charset="-122"/>
                        <a:ea typeface="微软雅黑" panose="020B0503020204020204" charset="-122"/>
                        <a:cs typeface="仿宋" charset="0"/>
                        <a:sym typeface="Arial" panose="020B0604020202020204" pitchFamily="34" charset="0"/>
                      </a:endParaRPr>
                    </a:p>
                  </a:txBody>
                  <a:tcPr marL="68580" marR="68580" marT="0" marB="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zh-CN" altLang="en-US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建议</a:t>
                      </a:r>
                      <a:r>
                        <a:rPr lang="zh-CN" altLang="en-US" sz="16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尼达尼布</a:t>
                      </a:r>
                      <a:r>
                        <a:rPr lang="zh-CN" altLang="en-US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用于治疗除特发性肺纤维化（</a:t>
                      </a:r>
                      <a:r>
                        <a:rPr lang="en-US" altLang="zh-CN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IPF</a:t>
                      </a:r>
                      <a:r>
                        <a:rPr lang="zh-CN" altLang="en-US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）以外的纤维化</a:t>
                      </a:r>
                      <a:r>
                        <a:rPr lang="en-US" altLang="zh-CN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ILD</a:t>
                      </a:r>
                      <a:r>
                        <a:rPr lang="zh-CN" altLang="en-US" sz="1600" dirty="0">
                          <a:latin typeface="Arial" panose="020B0604020202020204" pitchFamily="34" charset="0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标准治疗失败的进展性肺纤维化患者。</a:t>
                      </a:r>
                      <a:endParaRPr lang="zh-CN" altLang="en-US" sz="1600" b="0" dirty="0">
                        <a:latin typeface="Arial" panose="020B0604020202020204" pitchFamily="34" charset="0"/>
                        <a:ea typeface="微软雅黑" panose="020B0503020204020204" charset="-122"/>
                        <a:cs typeface="微软雅黑" panose="020B0503020204020204" charset="-122"/>
                        <a:sym typeface="Arial" panose="020B0604020202020204" pitchFamily="34" charset="0"/>
                      </a:endParaRPr>
                    </a:p>
                  </a:txBody>
                  <a:tcPr marL="68580" marR="68580" marT="0" marB="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20900">
                <a:tc>
                  <a:txBody>
                    <a:bodyPr/>
                    <a:p>
                      <a:pPr indent="0" algn="ctr">
                        <a:lnSpc>
                          <a:spcPct val="150000"/>
                        </a:lnSpc>
                        <a:buNone/>
                      </a:pPr>
                      <a:r>
                        <a:rPr lang="en-US" sz="1600" b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2023</a:t>
                      </a:r>
                      <a:r>
                        <a:rPr lang="zh-CN" altLang="en-US" sz="1600" b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年欧洲</a:t>
                      </a:r>
                      <a:endParaRPr lang="zh-CN" altLang="en-US" sz="1600" b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indent="0" algn="ctr">
                        <a:lnSpc>
                          <a:spcPct val="150000"/>
                        </a:lnSpc>
                        <a:buNone/>
                      </a:pPr>
                      <a:r>
                        <a:rPr altLang="en-US" sz="1600" b="1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进行性肺纤维化</a:t>
                      </a:r>
                      <a:endParaRPr altLang="en-US" sz="1600" b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indent="0" algn="ctr">
                        <a:lnSpc>
                          <a:spcPct val="150000"/>
                        </a:lnSpc>
                        <a:buNone/>
                      </a:pPr>
                      <a:r>
                        <a:rPr altLang="en-US" sz="1600" b="0"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专家共识</a:t>
                      </a:r>
                      <a:endParaRPr altLang="en-US" sz="1600" b="0"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marL="68580" marR="68580" marT="0" marB="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p>
                      <a:pPr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sz="1600" dirty="0">
                          <a:latin typeface="微软雅黑" panose="020B0503020204020204" charset="-122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越来越多的证据表明，无论免疫抑制治疗结果如何，抗纤维化治疗都能</a:t>
                      </a:r>
                      <a:r>
                        <a:rPr lang="zh-CN" sz="1600" dirty="0">
                          <a:latin typeface="微软雅黑" panose="020B0503020204020204" charset="-122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延缓</a:t>
                      </a:r>
                      <a:r>
                        <a:rPr sz="1600" dirty="0">
                          <a:latin typeface="微软雅黑" panose="020B0503020204020204" charset="-122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肺功能下降</a:t>
                      </a:r>
                      <a:r>
                        <a:rPr lang="zh-CN" sz="1600" dirty="0">
                          <a:latin typeface="微软雅黑" panose="020B0503020204020204" charset="-122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。</a:t>
                      </a:r>
                      <a:endParaRPr lang="zh-CN" sz="1600" dirty="0">
                        <a:latin typeface="微软雅黑" panose="020B0503020204020204" charset="-122"/>
                        <a:ea typeface="微软雅黑" panose="020B0503020204020204" charset="-122"/>
                        <a:sym typeface="Arial" panose="020B0604020202020204" pitchFamily="34" charset="0"/>
                      </a:endParaRPr>
                    </a:p>
                    <a:p>
                      <a:pPr indent="0" algn="l">
                        <a:lnSpc>
                          <a:spcPct val="15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sz="1600" dirty="0">
                          <a:latin typeface="微软雅黑" panose="020B0503020204020204" charset="-122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相比吡非尼酮，</a:t>
                      </a:r>
                      <a:r>
                        <a:rPr lang="zh-CN" sz="1600" b="1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尼达尼布有更可靠的数据证明疗效</a:t>
                      </a:r>
                      <a:r>
                        <a:rPr lang="zh-CN" sz="1600" dirty="0">
                          <a:latin typeface="微软雅黑" panose="020B0503020204020204" charset="-122"/>
                          <a:ea typeface="微软雅黑" panose="020B0503020204020204" charset="-122"/>
                          <a:sym typeface="Arial" panose="020B0604020202020204" pitchFamily="34" charset="0"/>
                        </a:rPr>
                        <a:t>。</a:t>
                      </a:r>
                      <a:endParaRPr lang="zh-CN" sz="1600" dirty="0">
                        <a:latin typeface="微软雅黑" panose="020B0503020204020204" charset="-122"/>
                        <a:ea typeface="微软雅黑" panose="020B0503020204020204" charset="-122"/>
                        <a:sym typeface="Arial" panose="020B0604020202020204" pitchFamily="34" charset="0"/>
                      </a:endParaRPr>
                    </a:p>
                  </a:txBody>
                  <a:tcPr marL="68580" marR="68580" marT="0" marB="0" vert="horz" anchor="ctr" anchorCtr="0">
                    <a:lnL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L>
                    <a:lnR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R>
                    <a:lnT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T>
                    <a:lnB w="12700" cap="flat" cmpd="sng">
                      <a:solidFill>
                        <a:srgbClr val="080000"/>
                      </a:solidFill>
                      <a:prstDash val="solid"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custDataLst>
      <p:tags r:id="rId3"/>
    </p:custData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436880" y="549275"/>
            <a:ext cx="10205720" cy="47815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p>
            <a:pPr algn="l">
              <a:lnSpc>
                <a:spcPct val="90000"/>
              </a:lnSpc>
              <a:buClrTx/>
              <a:buSzTx/>
              <a:buFontTx/>
            </a:pP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尼达尼布创新的作用机制，缓解疾病进展，</a:t>
            </a:r>
            <a:r>
              <a:rPr lang="zh-CN" altLang="en-US" sz="2800" b="1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填补治疗领域空白</a:t>
            </a:r>
            <a:endParaRPr lang="zh-CN" altLang="en-US" sz="2800" b="1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436880" y="2428875"/>
            <a:ext cx="5015230" cy="2306955"/>
          </a:xfrm>
          <a:prstGeom prst="rect">
            <a:avLst/>
          </a:prstGeom>
          <a:noFill/>
          <a:ln w="15875" cmpd="thickThin">
            <a:solidFill>
              <a:schemeClr val="accent1">
                <a:shade val="50000"/>
              </a:schemeClr>
            </a:solidFill>
            <a:prstDash val="dashDot"/>
          </a:ln>
        </p:spPr>
        <p:txBody>
          <a:bodyPr wrap="square" rtlCol="0" anchor="t">
            <a:spAutoFit/>
          </a:bodyPr>
          <a:p>
            <a:pPr indent="0" algn="l" fontAlgn="auto">
              <a:lnSpc>
                <a:spcPct val="150000"/>
              </a:lnSpc>
              <a:buClrTx/>
              <a:buSzTx/>
              <a:buFont typeface="Wingdings" panose="05000000000000000000" charset="0"/>
              <a:buNone/>
            </a:pP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创新的作用机制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：尼达尼布是一种小分子酪氨酸激酶抑制剂（TKI）。通过阻断成纤维细胞生长因子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FGF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血小板源生长因子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PDGF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和血管内皮生长因子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VEGF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受体酪氨酸激酶的磷酸化，即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阻断受体介导的下游信号传导</a:t>
            </a:r>
            <a:r>
              <a:rPr lang="zh-CN" altLang="en-US" sz="1600" b="1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从而抑制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成纤维细胞的增殖、迁移和转化</a:t>
            </a:r>
            <a:r>
              <a:rPr lang="en-US" altLang="zh-CN" sz="1600" b="1" baseline="3000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1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，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lt"/>
              </a:rPr>
              <a:t>起到抗纤维化、抗炎作用，</a:t>
            </a:r>
            <a:r>
              <a:rPr lang="zh-CN" altLang="en-US" sz="16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从而减缓疾病进展。</a:t>
            </a:r>
            <a:endParaRPr lang="zh-CN" altLang="en-US" sz="1600"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15" name="矩形: 圆角 3"/>
          <p:cNvSpPr/>
          <p:nvPr/>
        </p:nvSpPr>
        <p:spPr>
          <a:xfrm>
            <a:off x="0" y="0"/>
            <a:ext cx="2667635" cy="314960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创新</a:t>
            </a: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6684645" y="2428875"/>
            <a:ext cx="5015230" cy="2353310"/>
          </a:xfrm>
          <a:prstGeom prst="rect">
            <a:avLst/>
          </a:prstGeom>
          <a:noFill/>
          <a:ln w="15875" cmpd="thickThin">
            <a:solidFill>
              <a:schemeClr val="accent1">
                <a:shade val="50000"/>
              </a:schemeClr>
            </a:solidFill>
            <a:prstDash val="dashDot"/>
          </a:ln>
        </p:spPr>
        <p:txBody>
          <a:bodyPr wrap="square" rtlCol="0" anchor="t">
            <a:spAutoFit/>
          </a:bodyPr>
          <a:p>
            <a:pPr indent="0" algn="l" fontAlgn="auto">
              <a:lnSpc>
                <a:spcPct val="150000"/>
              </a:lnSpc>
              <a:buClrTx/>
              <a:buSzTx/>
              <a:buFont typeface="Wingdings" panose="05000000000000000000" charset="0"/>
              <a:buNone/>
            </a:pPr>
            <a:endParaRPr lang="zh-CN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j-cs"/>
              <a:sym typeface="+mn-ea"/>
            </a:endParaRPr>
          </a:p>
          <a:p>
            <a:pPr indent="0" algn="l" fontAlgn="auto">
              <a:lnSpc>
                <a:spcPct val="150000"/>
              </a:lnSpc>
              <a:buClrTx/>
              <a:buSzTx/>
              <a:buFont typeface="Wingdings" panose="05000000000000000000" charset="0"/>
              <a:buNone/>
            </a:pPr>
            <a:r>
              <a:rPr lang="zh-CN" sz="16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j-cs"/>
                <a:sym typeface="+mn-ea"/>
              </a:rPr>
              <a:t>临床</a:t>
            </a:r>
            <a:r>
              <a:rPr sz="16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j-cs"/>
                <a:sym typeface="+mn-ea"/>
              </a:rPr>
              <a:t>尼达尼布是唯一获批PF-</a:t>
            </a:r>
            <a:r>
              <a:rPr lang="en-US" sz="16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j-cs"/>
                <a:sym typeface="+mn-ea"/>
              </a:rPr>
              <a:t>I</a:t>
            </a:r>
            <a:r>
              <a:rPr sz="16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j-cs"/>
                <a:sym typeface="+mn-ea"/>
              </a:rPr>
              <a:t>LD适应症的抗纤化药物，解决</a:t>
            </a:r>
            <a:r>
              <a:rPr lang="zh-CN" altLang="en-US" sz="1600" b="1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临床针对此类患者人群无药可用的问题，</a:t>
            </a:r>
            <a:r>
              <a:rPr sz="160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j-cs"/>
                <a:sym typeface="+mn-ea"/>
              </a:rPr>
              <a:t>填补医疗保障空白。</a:t>
            </a:r>
            <a:endParaRPr lang="zh-CN" altLang="en-US" sz="160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j-cs"/>
              <a:sym typeface="+mn-ea"/>
            </a:endParaRPr>
          </a:p>
          <a:p>
            <a:pPr indent="0" algn="l" fontAlgn="auto">
              <a:lnSpc>
                <a:spcPct val="150000"/>
              </a:lnSpc>
              <a:buClrTx/>
              <a:buSzTx/>
              <a:buFont typeface="Wingdings" panose="05000000000000000000" charset="0"/>
              <a:buNone/>
            </a:pPr>
            <a:endParaRPr lang="zh-CN" altLang="en-US" sz="160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j-cs"/>
              <a:sym typeface="+mn-ea"/>
            </a:endParaRPr>
          </a:p>
          <a:p>
            <a:pPr indent="0" algn="l" fontAlgn="auto">
              <a:lnSpc>
                <a:spcPct val="150000"/>
              </a:lnSpc>
              <a:buClrTx/>
              <a:buSzTx/>
              <a:buFont typeface="Wingdings" panose="05000000000000000000" charset="0"/>
              <a:buNone/>
            </a:pPr>
            <a:endParaRPr lang="zh-CN" altLang="en-US" sz="1600">
              <a:solidFill>
                <a:schemeClr val="tx1">
                  <a:lumMod val="85000"/>
                  <a:lumOff val="1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j-cs"/>
              <a:sym typeface="+mn-ea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8267700" y="1683385"/>
            <a:ext cx="1849120" cy="337185"/>
          </a:xfrm>
          <a:prstGeom prst="rect">
            <a:avLst/>
          </a:prstGeom>
          <a:solidFill>
            <a:srgbClr val="184E78"/>
          </a:solidFill>
        </p:spPr>
        <p:txBody>
          <a:bodyPr wrap="square" rtlCol="0">
            <a:spAutoFit/>
          </a:bodyPr>
          <a:p>
            <a:pPr algn="ctr"/>
            <a:r>
              <a:rPr lang="zh-CN" altLang="en-US" sz="1600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应用</a:t>
            </a:r>
            <a:r>
              <a:rPr lang="zh-CN" altLang="en-US" sz="1600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创新</a:t>
            </a:r>
            <a:endParaRPr lang="zh-CN" altLang="en-US" sz="1600" b="1" dirty="0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019935" y="1683385"/>
            <a:ext cx="1849120" cy="337185"/>
          </a:xfrm>
          <a:prstGeom prst="rect">
            <a:avLst/>
          </a:prstGeom>
          <a:solidFill>
            <a:srgbClr val="184E78"/>
          </a:solidFill>
        </p:spPr>
        <p:txBody>
          <a:bodyPr wrap="square" rtlCol="0">
            <a:spAutoFit/>
          </a:bodyPr>
          <a:p>
            <a:pPr algn="ctr"/>
            <a:r>
              <a:rPr lang="zh-CN" altLang="en-US" sz="1600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创新</a:t>
            </a:r>
            <a:r>
              <a:rPr lang="zh-CN" altLang="en-US" sz="1600" b="1" dirty="0"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Arial" panose="020B0604020202020204" pitchFamily="34" charset="0"/>
              </a:rPr>
              <a:t>程度</a:t>
            </a:r>
            <a:endParaRPr lang="zh-CN" altLang="en-US" sz="1600" b="1" dirty="0">
              <a:solidFill>
                <a:schemeClr val="bg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Arial" panose="020B0604020202020204" pitchFamily="34" charset="0"/>
            </a:endParaRPr>
          </a:p>
        </p:txBody>
      </p:sp>
      <p:pic>
        <p:nvPicPr>
          <p:cNvPr id="10" name="图片 9" descr="3506557"/>
          <p:cNvPicPr>
            <a:picLocks noChangeAspect="1"/>
          </p:cNvPicPr>
          <p:nvPr/>
        </p:nvPicPr>
        <p:blipFill>
          <a:blip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p:blipFill>
        <p:spPr>
          <a:xfrm>
            <a:off x="1352550" y="1557655"/>
            <a:ext cx="558165" cy="558165"/>
          </a:xfrm>
          <a:prstGeom prst="rect">
            <a:avLst/>
          </a:prstGeom>
        </p:spPr>
      </p:pic>
      <p:pic>
        <p:nvPicPr>
          <p:cNvPr id="11" name="图片 10" descr="21586505"/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74280" y="1557655"/>
            <a:ext cx="558165" cy="55816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186055" y="6408420"/>
            <a:ext cx="7605395" cy="275590"/>
          </a:xfrm>
          <a:prstGeom prst="rect">
            <a:avLst/>
          </a:prstGeom>
        </p:spPr>
        <p:txBody>
          <a:bodyPr wrap="square">
            <a:spAutoFit/>
          </a:bodyPr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da-DK" altLang="zh-CN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charset="-122"/>
                <a:cs typeface="+mn-ea"/>
                <a:sym typeface="+mn-lt"/>
              </a:rPr>
              <a:t>1、Flaherty KR, et al. N Engl J Med. 2019;381(18):1718-1727.</a:t>
            </a:r>
            <a:endParaRPr kumimoji="0" lang="da-DK" altLang="zh-CN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charset="-122"/>
              <a:cs typeface="+mn-ea"/>
              <a:sym typeface="+mn-lt"/>
            </a:endParaRPr>
          </a:p>
        </p:txBody>
      </p:sp>
    </p:spTree>
    <p:custDataLst>
      <p:tags r:id="rId5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幻灯片" r:id="rId2" imgW="0" imgH="0" progId="TCLayout.ActiveDocument.1">
                  <p:embed/>
                </p:oleObj>
              </mc:Choice>
              <mc:Fallback>
                <p:oleObj name="think-cell 幻灯片" r:id="rId2" imgW="0" imgH="0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: 圆角 3"/>
          <p:cNvSpPr/>
          <p:nvPr/>
        </p:nvSpPr>
        <p:spPr>
          <a:xfrm>
            <a:off x="0" y="0"/>
            <a:ext cx="2593975" cy="314960"/>
          </a:xfrm>
          <a:prstGeom prst="roundRect">
            <a:avLst>
              <a:gd name="adj" fmla="val 0"/>
            </a:avLst>
          </a:pr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</a:rPr>
              <a:t>公平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542925" y="380365"/>
            <a:ext cx="10680065" cy="63119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唯一获批</a:t>
            </a:r>
            <a:r>
              <a:rPr lang="en-US" altLang="zh-CN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PF-ILD</a:t>
            </a:r>
            <a:r>
              <a:rPr lang="zh-CN" altLang="en-US" sz="2800" b="1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的抗纤化药物填补医疗保障空白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562610" y="2822575"/>
            <a:ext cx="11090275" cy="1152525"/>
            <a:chOff x="905" y="6367"/>
            <a:chExt cx="17465" cy="1815"/>
          </a:xfrm>
        </p:grpSpPr>
        <p:sp>
          <p:nvSpPr>
            <p:cNvPr id="34" name="矩形 33"/>
            <p:cNvSpPr/>
            <p:nvPr/>
          </p:nvSpPr>
          <p:spPr>
            <a:xfrm>
              <a:off x="905" y="6367"/>
              <a:ext cx="17428" cy="181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37" name="任意多边形 43"/>
            <p:cNvSpPr/>
            <p:nvPr/>
          </p:nvSpPr>
          <p:spPr>
            <a:xfrm>
              <a:off x="922" y="6401"/>
              <a:ext cx="4914" cy="502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184E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>
                <a:defRPr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弥补目录短板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905" y="7011"/>
              <a:ext cx="17465" cy="7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>
                <a:lnSpc>
                  <a:spcPct val="150000"/>
                </a:lnSpc>
              </a:pP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</a:rPr>
                <a:t>尼达尼布</a:t>
              </a:r>
              <a:r>
                <a:rPr lang="zh-CN" altLang="en-US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唯一获批PF-ILD</a:t>
              </a: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</a:rPr>
                <a:t>的抗纤化药物，弥补目录短板，</a:t>
              </a: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显著提升目录公平性</a:t>
              </a: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</a:rPr>
                <a:t>。</a:t>
              </a:r>
              <a:endParaRPr lang="zh-CN" altLang="en-US" sz="1600" dirty="0">
                <a:solidFill>
                  <a:srgbClr val="C0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575302" y="5345686"/>
            <a:ext cx="11099808" cy="1236189"/>
            <a:chOff x="886" y="8340"/>
            <a:chExt cx="17480" cy="1947"/>
          </a:xfrm>
        </p:grpSpPr>
        <p:sp>
          <p:nvSpPr>
            <p:cNvPr id="58" name="矩形 57"/>
            <p:cNvSpPr/>
            <p:nvPr/>
          </p:nvSpPr>
          <p:spPr>
            <a:xfrm>
              <a:off x="886" y="8340"/>
              <a:ext cx="17428" cy="181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61" name="任意多边形 43"/>
            <p:cNvSpPr/>
            <p:nvPr/>
          </p:nvSpPr>
          <p:spPr>
            <a:xfrm>
              <a:off x="906" y="8393"/>
              <a:ext cx="4914" cy="546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184E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>
                <a:defRPr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临床管理难度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60" name="文本框 59"/>
            <p:cNvSpPr txBox="1"/>
            <p:nvPr/>
          </p:nvSpPr>
          <p:spPr>
            <a:xfrm>
              <a:off x="901" y="8980"/>
              <a:ext cx="17465" cy="13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>
                <a:lnSpc>
                  <a:spcPct val="150000"/>
                </a:lnSpc>
              </a:pP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</a:rPr>
                <a:t>疾病诊断明确，</a:t>
              </a: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支付范围与说明书保持一致，</a:t>
              </a: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</a:rPr>
                <a:t>方便规范管理。</a:t>
              </a:r>
              <a:endParaRPr lang="zh-CN" altLang="en-US" sz="1600" dirty="0"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150000"/>
                </a:lnSpc>
              </a:pP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</a:rPr>
                <a:t>不存在临床滥用或超说明书用药的可能，医保基金支出有限可控。</a:t>
              </a:r>
              <a:endParaRPr lang="zh-CN" altLang="en-US" sz="1600" dirty="0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  <p:sp>
        <p:nvSpPr>
          <p:cNvPr id="19" name="矩形 18"/>
          <p:cNvSpPr/>
          <p:nvPr/>
        </p:nvSpPr>
        <p:spPr>
          <a:xfrm>
            <a:off x="550536" y="1226864"/>
            <a:ext cx="11066790" cy="148734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微软雅黑" panose="020B0503020204020204" charset="-122"/>
            </a:endParaRPr>
          </a:p>
        </p:txBody>
      </p:sp>
      <p:sp>
        <p:nvSpPr>
          <p:cNvPr id="21" name="任意多边形 43"/>
          <p:cNvSpPr/>
          <p:nvPr/>
        </p:nvSpPr>
        <p:spPr>
          <a:xfrm>
            <a:off x="571500" y="1256905"/>
            <a:ext cx="3120688" cy="321342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184E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>
              <a:defRPr/>
            </a:pPr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所治疗疾病对公共健康的影响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149225" y="1577975"/>
            <a:ext cx="11468100" cy="922020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lvl="1" indent="0" fontAlgn="auto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进行性表型的慢性纤维化间质性肺疾病(PF-LD)是一种进行性、不可逆的具有严重致残性、致命性的肺部疾病，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临床急缺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能有效地管理疾病进程的药物。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尼达尼布显著患者改善患者肺功能，</a:t>
            </a:r>
            <a:r>
              <a:rPr lang="zh-CN" altLang="en-US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降低首次急性加重或死亡风险</a:t>
            </a:r>
            <a:r>
              <a:rPr lang="zh-CN" altLang="en-US" sz="1600" dirty="0">
                <a:latin typeface="微软雅黑" panose="020B0503020204020204" charset="-122"/>
                <a:ea typeface="微软雅黑" panose="020B0503020204020204" charset="-122"/>
                <a:sym typeface="+mn-ea"/>
              </a:rPr>
              <a:t>。</a:t>
            </a:r>
            <a:endParaRPr lang="zh-CN" altLang="en-US" sz="1600" dirty="0"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575310" y="4048125"/>
            <a:ext cx="11101705" cy="1230630"/>
            <a:chOff x="883" y="6298"/>
            <a:chExt cx="17483" cy="1938"/>
          </a:xfrm>
        </p:grpSpPr>
        <p:sp>
          <p:nvSpPr>
            <p:cNvPr id="23" name="矩形 22"/>
            <p:cNvSpPr/>
            <p:nvPr/>
          </p:nvSpPr>
          <p:spPr>
            <a:xfrm>
              <a:off x="883" y="6298"/>
              <a:ext cx="17465" cy="181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微软雅黑" panose="020B0503020204020204" charset="-122"/>
              </a:endParaRPr>
            </a:p>
          </p:txBody>
        </p:sp>
        <p:sp>
          <p:nvSpPr>
            <p:cNvPr id="25" name="任意多边形 43"/>
            <p:cNvSpPr/>
            <p:nvPr/>
          </p:nvSpPr>
          <p:spPr>
            <a:xfrm>
              <a:off x="920" y="6335"/>
              <a:ext cx="4914" cy="497"/>
            </a:xfrm>
            <a:custGeom>
              <a:avLst/>
              <a:gdLst>
                <a:gd name="connsiteX0" fmla="*/ 0 w 3161201"/>
                <a:gd name="connsiteY0" fmla="*/ 0 h 768491"/>
                <a:gd name="connsiteX1" fmla="*/ 354694 w 3161201"/>
                <a:gd name="connsiteY1" fmla="*/ 0 h 768491"/>
                <a:gd name="connsiteX2" fmla="*/ 407839 w 3161201"/>
                <a:gd name="connsiteY2" fmla="*/ 0 h 768491"/>
                <a:gd name="connsiteX3" fmla="*/ 3161201 w 3161201"/>
                <a:gd name="connsiteY3" fmla="*/ 0 h 768491"/>
                <a:gd name="connsiteX4" fmla="*/ 2969078 w 3161201"/>
                <a:gd name="connsiteY4" fmla="*/ 768491 h 768491"/>
                <a:gd name="connsiteX5" fmla="*/ 407839 w 3161201"/>
                <a:gd name="connsiteY5" fmla="*/ 768491 h 768491"/>
                <a:gd name="connsiteX6" fmla="*/ 162571 w 3161201"/>
                <a:gd name="connsiteY6" fmla="*/ 768491 h 768491"/>
                <a:gd name="connsiteX7" fmla="*/ 0 w 3161201"/>
                <a:gd name="connsiteY7" fmla="*/ 768491 h 7684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61201" h="768491">
                  <a:moveTo>
                    <a:pt x="0" y="0"/>
                  </a:moveTo>
                  <a:lnTo>
                    <a:pt x="354694" y="0"/>
                  </a:lnTo>
                  <a:lnTo>
                    <a:pt x="407839" y="0"/>
                  </a:lnTo>
                  <a:lnTo>
                    <a:pt x="3161201" y="0"/>
                  </a:lnTo>
                  <a:lnTo>
                    <a:pt x="2969078" y="768491"/>
                  </a:lnTo>
                  <a:lnTo>
                    <a:pt x="407839" y="768491"/>
                  </a:lnTo>
                  <a:lnTo>
                    <a:pt x="162571" y="768491"/>
                  </a:lnTo>
                  <a:lnTo>
                    <a:pt x="0" y="768491"/>
                  </a:lnTo>
                  <a:close/>
                </a:path>
              </a:pathLst>
            </a:custGeom>
            <a:solidFill>
              <a:srgbClr val="184E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>
                <a:defRPr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符合“保基本”原则</a:t>
              </a:r>
              <a:endParaRPr lang="zh-CN" altLang="en-US" sz="1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901" y="6857"/>
              <a:ext cx="17465" cy="137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p>
              <a:pPr>
                <a:lnSpc>
                  <a:spcPct val="150000"/>
                </a:lnSpc>
              </a:pP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  <a:cs typeface="微软雅黑" panose="020B0503020204020204" charset="-122"/>
                  <a:sym typeface="+mn-ea"/>
                </a:rPr>
                <a:t>2020年国谈降价66%，</a:t>
              </a:r>
              <a:r>
                <a:rPr lang="zh-CN" altLang="en-US" sz="1600" dirty="0">
                  <a:solidFill>
                    <a:srgbClr val="000000"/>
                  </a:solidFill>
                  <a:latin typeface="Arial" panose="020B0604020202020204" pitchFamily="34" charset="0"/>
                  <a:ea typeface="微软雅黑" panose="020B0503020204020204" charset="-122"/>
                  <a:sym typeface="+mn-ea"/>
                </a:rPr>
                <a:t>是2022年版国家基本医疗保险目录内“常规目录”药品，支付范围限IPF或SSc-ILD患者。</a:t>
              </a:r>
              <a:endParaRPr lang="en-US" altLang="zh-CN" sz="1600">
                <a:latin typeface="微软雅黑" panose="020B0503020204020204" charset="-122"/>
                <a:ea typeface="微软雅黑" panose="020B0503020204020204" charset="-122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1600">
                  <a:latin typeface="微软雅黑" panose="020B0503020204020204" charset="-122"/>
                  <a:ea typeface="微软雅黑" panose="020B0503020204020204" charset="-122"/>
                </a:rPr>
                <a:t>PF-ILD</a:t>
              </a:r>
              <a:r>
                <a:rPr lang="zh-CN" altLang="en-US" sz="1600">
                  <a:latin typeface="微软雅黑" panose="020B0503020204020204" charset="-122"/>
                  <a:ea typeface="微软雅黑" panose="020B0503020204020204" charset="-122"/>
                </a:rPr>
                <a:t>患者</a:t>
              </a:r>
              <a:r>
                <a:rPr lang="zh-CN" altLang="en-US" sz="1600" dirty="0">
                  <a:latin typeface="微软雅黑" panose="020B0503020204020204" charset="-122"/>
                  <a:ea typeface="微软雅黑" panose="020B0503020204020204" charset="-122"/>
                </a:rPr>
                <a:t>人数少，</a:t>
              </a:r>
              <a:r>
                <a:rPr lang="zh-CN" altLang="en-US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对医保基金的影响有限</a:t>
              </a:r>
              <a:r>
                <a:rPr lang="zh-CN" altLang="en-US" sz="16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；</a:t>
              </a:r>
              <a:endParaRPr lang="zh-CN" altLang="en-US" sz="16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p="http://schemas.openxmlformats.org/presentationml/2006/main">
  <p:tag name="KSO_WM_SPECIAL_SOURCE" val="bdnull"/>
</p:tagLst>
</file>

<file path=ppt/tags/tag10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SPECIAL_SOURCE" val="bdnull"/>
</p:tagLst>
</file>

<file path=ppt/tags/tag13.xml><?xml version="1.0" encoding="utf-8"?>
<p:tagLst xmlns:p="http://schemas.openxmlformats.org/presentationml/2006/main">
  <p:tag name="THINKCELLSHAPEDONOTDELETE" val="thinkcellActiveDocDoNotDelete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UNIT_TABLE_BEAUTIFY" val="smartTable{a029d038-277c-47ce-812e-1818842a7cc3}"/>
  <p:tag name="TABLE_ENDDRAG_ORIGIN_RECT" val="482*44"/>
  <p:tag name="TABLE_ENDDRAG_RECT" val="41*108*482*44"/>
</p:tagLst>
</file>

<file path=ppt/tags/tag16.xml><?xml version="1.0" encoding="utf-8"?>
<p:tagLst xmlns:p="http://schemas.openxmlformats.org/presentationml/2006/main">
  <p:tag name="KSO_WM_UNIT_TABLE_BEAUTIFY" val="smartTable{e873e613-47af-49da-a47c-41ff7ac49cc7}"/>
  <p:tag name="TABLE_ENDDRAG_ORIGIN_RECT" val="482*278"/>
  <p:tag name="TABLE_ENDDRAG_RECT" val="37*168*482*278"/>
</p:tagLst>
</file>

<file path=ppt/tags/tag17.xml><?xml version="1.0" encoding="utf-8"?>
<p:tagLst xmlns:p="http://schemas.openxmlformats.org/presentationml/2006/main">
  <p:tag name="KSO_WM_SPECIAL_SOURCE" val="bdnull"/>
</p:tagLst>
</file>

<file path=ppt/tags/tag18.xml><?xml version="1.0" encoding="utf-8"?>
<p:tagLst xmlns:p="http://schemas.openxmlformats.org/presentationml/2006/main">
  <p:tag name="KSO_WM_SPECIAL_SOURCE" val="bdnull"/>
</p:tagLst>
</file>

<file path=ppt/tags/tag19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20.xml><?xml version="1.0" encoding="utf-8"?>
<p:tagLst xmlns:p="http://schemas.openxmlformats.org/presentationml/2006/main">
  <p:tag name="COMMONDATA" val="eyJoZGlkIjoiZDIxNTFkZmM1MGMzN2NjZWVjYjdhM2EzMmY4NDU0NzUifQ=="/>
  <p:tag name="KSO_WPP_MARK_KEY" val="f9fd2067-295a-4970-bf25-f429c364ceb3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UNIT_TABLE_BEAUTIFY" val="smartTable{1c703efe-6186-4038-bbe8-98f25a195e5c}"/>
  <p:tag name="TABLE_ENDDRAG_ORIGIN_RECT" val="904*289"/>
  <p:tag name="TABLE_ENDDRAG_RECT" val="27*114*904*289"/>
</p:tagLst>
</file>

<file path=ppt/tags/tag6.xml><?xml version="1.0" encoding="utf-8"?>
<p:tagLst xmlns:p="http://schemas.openxmlformats.org/presentationml/2006/main">
  <p:tag name="THINKCELLSHAPEDONOTDELETE" val="thinkcellActiveDocDoNotDelete"/>
</p:tagLst>
</file>

<file path=ppt/tags/tag7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ewbylal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401</Words>
  <Application>WPS 文字</Application>
  <PresentationFormat>宽屏</PresentationFormat>
  <Paragraphs>255</Paragraphs>
  <Slides>10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24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5</vt:i4>
      </vt:variant>
      <vt:variant>
        <vt:lpstr>幻灯片标题</vt:lpstr>
      </vt:variant>
      <vt:variant>
        <vt:i4>10</vt:i4>
      </vt:variant>
    </vt:vector>
  </HeadingPairs>
  <TitlesOfParts>
    <vt:vector size="43" baseType="lpstr">
      <vt:lpstr>Arial</vt:lpstr>
      <vt:lpstr>宋体</vt:lpstr>
      <vt:lpstr>Wingdings</vt:lpstr>
      <vt:lpstr>微软雅黑</vt:lpstr>
      <vt:lpstr>思源黑体 CN Bold</vt:lpstr>
      <vt:lpstr>汉仪中黑KW</vt:lpstr>
      <vt:lpstr>Times New Roman</vt:lpstr>
      <vt:lpstr>Calibri</vt:lpstr>
      <vt:lpstr>Helvetica Neue</vt:lpstr>
      <vt:lpstr>メイリオ</vt:lpstr>
      <vt:lpstr>苹方-简</vt:lpstr>
      <vt:lpstr>Arial</vt:lpstr>
      <vt:lpstr>等线</vt:lpstr>
      <vt:lpstr>Wingdings</vt:lpstr>
      <vt:lpstr>仿宋</vt:lpstr>
      <vt:lpstr>方正仿宋_GBK</vt:lpstr>
      <vt:lpstr>Calibri</vt:lpstr>
      <vt:lpstr>Tahoma</vt:lpstr>
      <vt:lpstr>MS PGothic</vt:lpstr>
      <vt:lpstr>汉仪中等线KW</vt:lpstr>
      <vt:lpstr>Malgun Gothic</vt:lpstr>
      <vt:lpstr>Apple SD Gothic Neo</vt:lpstr>
      <vt:lpstr>Arial Unicode MS</vt:lpstr>
      <vt:lpstr>等线</vt:lpstr>
      <vt:lpstr>Office 主题</vt:lpstr>
      <vt:lpstr>1_Office 主题</vt:lpstr>
      <vt:lpstr>Office 主题​​</vt:lpstr>
      <vt:lpstr>4_自定义设计方案</vt:lpstr>
      <vt:lpstr>TCLayout.ActiveDocument.1</vt:lpstr>
      <vt:lpstr>TCLayout.ActiveDocument.1</vt:lpstr>
      <vt:lpstr>TCLayout.ActiveDocument.1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指南推荐：抗纤维化治疗能延缓PF-ILD患者肺功能下降。 尼达尼布有更可靠的数据证明疗效。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石药集团</cp:lastModifiedBy>
  <cp:revision>264</cp:revision>
  <dcterms:created xsi:type="dcterms:W3CDTF">2023-07-14T07:22:54Z</dcterms:created>
  <dcterms:modified xsi:type="dcterms:W3CDTF">2023-07-14T07:2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D0FB3F611DC3E136A73AF641E828BE2_43</vt:lpwstr>
  </property>
  <property fmtid="{D5CDD505-2E9C-101B-9397-08002B2CF9AE}" pid="3" name="KSOProductBuildVer">
    <vt:lpwstr>2052-5.4.1.7920</vt:lpwstr>
  </property>
</Properties>
</file>